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5"/>
  </p:notesMasterIdLst>
  <p:sldIdLst>
    <p:sldId id="288" r:id="rId3"/>
    <p:sldId id="295" r:id="rId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A4DD7F46-42D9-461F-BF63-F131800574EE}">
          <p14:sldIdLst>
            <p14:sldId id="288"/>
            <p14:sldId id="29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F9F9"/>
    <a:srgbClr val="000000"/>
    <a:srgbClr val="00B050"/>
    <a:srgbClr val="0061AB"/>
    <a:srgbClr val="D5F0FB"/>
    <a:srgbClr val="ACE1F6"/>
    <a:srgbClr val="82D1F2"/>
    <a:srgbClr val="0070BA"/>
    <a:srgbClr val="FDFDFD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837" autoAdjust="0"/>
  </p:normalViewPr>
  <p:slideViewPr>
    <p:cSldViewPr snapToGrid="0">
      <p:cViewPr>
        <p:scale>
          <a:sx n="75" d="100"/>
          <a:sy n="75" d="100"/>
        </p:scale>
        <p:origin x="1872" y="8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DFFE49-7F85-4C38-8C7E-428FCB941327}" type="datetimeFigureOut">
              <a:rPr lang="ru-RU" smtClean="0"/>
              <a:t>09.04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075610-906F-4DFA-B02E-8F4A36D3270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9775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oleObject" Target="../embeddings/oleObject6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file:///C:\Users\Startsev.ID\AppData\Roaming\OOO%20Proector\PowerLexis%20Panel%20for%20GPN\Resources\images\bg\bg20plazma.jpg" TargetMode="Externa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oleObject" Target="../embeddings/oleObject7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file:///C:\Users\Startsev.ID\AppData\Roaming\OOO%20Proector\PowerLexis%20Panel%20for%20GPN\Resources\images\bg\bg5plazma.jpg" TargetMode="Externa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10.jp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file:///C:\Program%20Files\OOO%20Proector.PowerLexis%20Panel%20for%20GPN\Resources\images\bg\bg7speech.jpg" TargetMode="Externa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image" Target="../media/image12.jp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3.png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3.png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83CA2-8693-4AFB-B41D-3EF0B4970091}" type="datetimeFigureOut">
              <a:rPr lang="ru-RU" smtClean="0"/>
              <a:t>09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ABA8E-A86D-4D17-8897-FCA1AD88C3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33634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83CA2-8693-4AFB-B41D-3EF0B4970091}" type="datetimeFigureOut">
              <a:rPr lang="ru-RU" smtClean="0"/>
              <a:t>09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ABA8E-A86D-4D17-8897-FCA1AD88C3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65745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83CA2-8693-4AFB-B41D-3EF0B4970091}" type="datetimeFigureOut">
              <a:rPr lang="ru-RU" smtClean="0"/>
              <a:t>09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ABA8E-A86D-4D17-8897-FCA1AD88C3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47081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 кластерами (основной 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ackGroundTitleSlide">
            <a:extLst>
              <a:ext uri="{FF2B5EF4-FFF2-40B4-BE49-F238E27FC236}">
                <a16:creationId xmlns:a16="http://schemas.microsoft.com/office/drawing/2014/main" id="{AAC3B466-1B48-8649-8B92-8DB1C966BF3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1" y="762"/>
            <a:ext cx="11396813" cy="6413298"/>
          </a:xfrm>
          <a:prstGeom prst="rect">
            <a:avLst/>
          </a:prstGeom>
        </p:spPr>
      </p:pic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086561" y="3469021"/>
            <a:ext cx="6335713" cy="873254"/>
          </a:xfrm>
        </p:spPr>
        <p:txBody>
          <a:bodyPr vert="horz" tIns="0" anchor="t">
            <a:noAutofit/>
          </a:bodyPr>
          <a:lstStyle>
            <a:lvl1pPr>
              <a:lnSpc>
                <a:spcPct val="80000"/>
              </a:lnSpc>
              <a:defRPr kumimoji="0" lang="ru-RU" sz="3200" b="0" i="0" u="none" strike="noStrike" kern="1200" cap="all" spc="0" normalizeH="0" baseline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j-cs"/>
              </a:defRPr>
            </a:lvl1pPr>
          </a:lstStyle>
          <a:p>
            <a:r>
              <a:rPr lang="ru-RU" dirty="0"/>
              <a:t>ШАБЛОН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45" name="Подзаголовок 2">
            <a:extLst>
              <a:ext uri="{FF2B5EF4-FFF2-40B4-BE49-F238E27FC236}">
                <a16:creationId xmlns:a16="http://schemas.microsoft.com/office/drawing/2014/main" id="{7E0A3357-E9E1-C84A-A7A8-1F407D8B72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510" y="6213849"/>
            <a:ext cx="3459560" cy="108000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900" b="0" i="0" cap="none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ДАТА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210F8070-3D82-4F4A-8CBE-3FA34598E8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656" y="5760621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en-US" dirty="0"/>
              <a:t>PETROV.PP@GAZPROM-NEFT.RU</a:t>
            </a:r>
            <a:endParaRPr lang="ru-RU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89376FD-B120-FB4E-96F4-AD3132FE07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6656" y="5590538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П.П. ПЕТРОВ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75E2650-382E-5F4B-8395-A2740C2D0E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656" y="5201002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НАЗВАНИЕ СТРУКТУРНОГО ПОДРАЗДЕЛЕНИЯ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975604B8-2161-EF4C-B8E3-9724CBADF4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6114" y="6380539"/>
            <a:ext cx="3459956" cy="108001"/>
          </a:xfrm>
        </p:spPr>
        <p:txBody>
          <a:bodyPr/>
          <a:lstStyle>
            <a:lvl1pPr marL="0" indent="0">
              <a:buNone/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ВЕРСИЯ</a:t>
            </a:r>
          </a:p>
        </p:txBody>
      </p:sp>
      <p:sp>
        <p:nvSpPr>
          <p:cNvPr id="51" name="Text Placeholder 36">
            <a:extLst>
              <a:ext uri="{FF2B5EF4-FFF2-40B4-BE49-F238E27FC236}">
                <a16:creationId xmlns:a16="http://schemas.microsoft.com/office/drawing/2014/main" id="{F9E6AC4B-EADA-B44E-8DFA-9750E80B7C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1805" y="5174964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78E195AB-EC96-9042-8988-7774718C54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1805" y="6360442"/>
            <a:ext cx="2718197" cy="107998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3" name="Text Placeholder 36">
            <a:extLst>
              <a:ext uri="{FF2B5EF4-FFF2-40B4-BE49-F238E27FC236}">
                <a16:creationId xmlns:a16="http://schemas.microsoft.com/office/drawing/2014/main" id="{E1A917A4-F1EE-734D-9898-93A1D1B0A3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1805" y="5329451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4" name="Text Placeholder 36">
            <a:extLst>
              <a:ext uri="{FF2B5EF4-FFF2-40B4-BE49-F238E27FC236}">
                <a16:creationId xmlns:a16="http://schemas.microsoft.com/office/drawing/2014/main" id="{54B1AB96-3B05-B543-8CF0-124A254C40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01805" y="5487988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pic>
        <p:nvPicPr>
          <p:cNvPr id="59" name="Рисунок 50">
            <a:extLst>
              <a:ext uri="{FF2B5EF4-FFF2-40B4-BE49-F238E27FC236}">
                <a16:creationId xmlns:a16="http://schemas.microsoft.com/office/drawing/2014/main" id="{1C4B524E-B400-E3E6-C246-62468A03C06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99819" y="5722601"/>
            <a:ext cx="1893991" cy="1038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61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итульный с кластерами (основной 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F499F3FA-D89B-41AF-9707-D679E11C2E4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54"/>
            <a:ext cx="12194766" cy="6856445"/>
          </a:xfrm>
          <a:prstGeom prst="rect">
            <a:avLst/>
          </a:prstGeom>
        </p:spPr>
      </p:pic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086561" y="3469021"/>
            <a:ext cx="6335713" cy="873254"/>
          </a:xfrm>
        </p:spPr>
        <p:txBody>
          <a:bodyPr vert="horz" tIns="0" anchor="t">
            <a:noAutofit/>
          </a:bodyPr>
          <a:lstStyle>
            <a:lvl1pPr>
              <a:lnSpc>
                <a:spcPct val="80000"/>
              </a:lnSpc>
              <a:defRPr kumimoji="0" lang="ru-RU" sz="3200" b="0" i="0" u="none" strike="noStrike" kern="1200" cap="all" spc="0" normalizeH="0" baseline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j-cs"/>
              </a:defRPr>
            </a:lvl1pPr>
          </a:lstStyle>
          <a:p>
            <a:r>
              <a:rPr lang="ru-RU" dirty="0"/>
              <a:t>ШАБЛОН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45" name="Подзаголовок 2">
            <a:extLst>
              <a:ext uri="{FF2B5EF4-FFF2-40B4-BE49-F238E27FC236}">
                <a16:creationId xmlns:a16="http://schemas.microsoft.com/office/drawing/2014/main" id="{7E0A3357-E9E1-C84A-A7A8-1F407D8B72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510" y="6213849"/>
            <a:ext cx="3459560" cy="108000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900" b="0" i="0" cap="none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ДАТА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210F8070-3D82-4F4A-8CBE-3FA34598E8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656" y="5760621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en-US" dirty="0"/>
              <a:t>PETROV.PP@GAZPROM-NEFT.RU</a:t>
            </a:r>
            <a:endParaRPr lang="ru-RU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89376FD-B120-FB4E-96F4-AD3132FE07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6656" y="5590538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П.П. ПЕТРОВ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75E2650-382E-5F4B-8395-A2740C2D0E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656" y="5201002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НАЗВАНИЕ СТРУКТУРНОГО ПОДРАЗДЕЛЕНИЯ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975604B8-2161-EF4C-B8E3-9724CBADF4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6114" y="6380539"/>
            <a:ext cx="3459956" cy="108001"/>
          </a:xfrm>
        </p:spPr>
        <p:txBody>
          <a:bodyPr/>
          <a:lstStyle>
            <a:lvl1pPr marL="0" indent="0">
              <a:buNone/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ВЕРСИЯ</a:t>
            </a:r>
          </a:p>
        </p:txBody>
      </p:sp>
      <p:sp>
        <p:nvSpPr>
          <p:cNvPr id="51" name="Text Placeholder 36">
            <a:extLst>
              <a:ext uri="{FF2B5EF4-FFF2-40B4-BE49-F238E27FC236}">
                <a16:creationId xmlns:a16="http://schemas.microsoft.com/office/drawing/2014/main" id="{F9E6AC4B-EADA-B44E-8DFA-9750E80B7C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1805" y="5174964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78E195AB-EC96-9042-8988-7774718C54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1805" y="6360442"/>
            <a:ext cx="2718197" cy="107998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3" name="Text Placeholder 36">
            <a:extLst>
              <a:ext uri="{FF2B5EF4-FFF2-40B4-BE49-F238E27FC236}">
                <a16:creationId xmlns:a16="http://schemas.microsoft.com/office/drawing/2014/main" id="{E1A917A4-F1EE-734D-9898-93A1D1B0A3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1805" y="5329451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4" name="Text Placeholder 36">
            <a:extLst>
              <a:ext uri="{FF2B5EF4-FFF2-40B4-BE49-F238E27FC236}">
                <a16:creationId xmlns:a16="http://schemas.microsoft.com/office/drawing/2014/main" id="{54B1AB96-3B05-B543-8CF0-124A254C40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01805" y="5487988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pic>
        <p:nvPicPr>
          <p:cNvPr id="59" name="Рисунок 50">
            <a:extLst>
              <a:ext uri="{FF2B5EF4-FFF2-40B4-BE49-F238E27FC236}">
                <a16:creationId xmlns:a16="http://schemas.microsoft.com/office/drawing/2014/main" id="{1C4B524E-B400-E3E6-C246-62468A03C06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15613" y="5925653"/>
            <a:ext cx="1419460" cy="778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3865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итульный с кластерами (основной 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BackGroundTitleSlide"/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4670"/>
            <a:ext cx="11349620" cy="6372338"/>
          </a:xfrm>
          <a:prstGeom prst="rect">
            <a:avLst/>
          </a:prstGeom>
        </p:spPr>
      </p:pic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086561" y="3469021"/>
            <a:ext cx="6335713" cy="873254"/>
          </a:xfrm>
        </p:spPr>
        <p:txBody>
          <a:bodyPr vert="horz" tIns="0" anchor="t">
            <a:noAutofit/>
          </a:bodyPr>
          <a:lstStyle>
            <a:lvl1pPr>
              <a:lnSpc>
                <a:spcPct val="80000"/>
              </a:lnSpc>
              <a:defRPr kumimoji="0" lang="ru-RU" sz="3200" b="0" i="0" u="none" strike="noStrike" kern="1200" cap="all" spc="0" normalizeH="0" baseline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j-cs"/>
              </a:defRPr>
            </a:lvl1pPr>
          </a:lstStyle>
          <a:p>
            <a:r>
              <a:rPr lang="ru-RU" dirty="0"/>
              <a:t>ШАБЛОН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45" name="Подзаголовок 2">
            <a:extLst>
              <a:ext uri="{FF2B5EF4-FFF2-40B4-BE49-F238E27FC236}">
                <a16:creationId xmlns:a16="http://schemas.microsoft.com/office/drawing/2014/main" id="{7E0A3357-E9E1-C84A-A7A8-1F407D8B72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510" y="6213849"/>
            <a:ext cx="3459560" cy="108000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900" b="0" i="0" cap="none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ДАТА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210F8070-3D82-4F4A-8CBE-3FA34598E8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656" y="5760621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en-US" dirty="0"/>
              <a:t>PETROV.PP@GAZPROM-NEFT.RU</a:t>
            </a:r>
            <a:endParaRPr lang="ru-RU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89376FD-B120-FB4E-96F4-AD3132FE07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6656" y="5590538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П.П. ПЕТРОВ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75E2650-382E-5F4B-8395-A2740C2D0E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656" y="5201002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НАЗВАНИЕ СТРУКТУРНОГО ПОДРАЗДЕЛЕНИЯ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975604B8-2161-EF4C-B8E3-9724CBADF4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6114" y="6380539"/>
            <a:ext cx="3459956" cy="108001"/>
          </a:xfrm>
        </p:spPr>
        <p:txBody>
          <a:bodyPr/>
          <a:lstStyle>
            <a:lvl1pPr marL="0" indent="0">
              <a:buNone/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ВЕРСИЯ</a:t>
            </a:r>
          </a:p>
        </p:txBody>
      </p:sp>
      <p:sp>
        <p:nvSpPr>
          <p:cNvPr id="51" name="Text Placeholder 36">
            <a:extLst>
              <a:ext uri="{FF2B5EF4-FFF2-40B4-BE49-F238E27FC236}">
                <a16:creationId xmlns:a16="http://schemas.microsoft.com/office/drawing/2014/main" id="{F9E6AC4B-EADA-B44E-8DFA-9750E80B7C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1805" y="5174964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78E195AB-EC96-9042-8988-7774718C54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1805" y="6360442"/>
            <a:ext cx="2718197" cy="107998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3" name="Text Placeholder 36">
            <a:extLst>
              <a:ext uri="{FF2B5EF4-FFF2-40B4-BE49-F238E27FC236}">
                <a16:creationId xmlns:a16="http://schemas.microsoft.com/office/drawing/2014/main" id="{E1A917A4-F1EE-734D-9898-93A1D1B0A3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1805" y="5329451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4" name="Text Placeholder 36">
            <a:extLst>
              <a:ext uri="{FF2B5EF4-FFF2-40B4-BE49-F238E27FC236}">
                <a16:creationId xmlns:a16="http://schemas.microsoft.com/office/drawing/2014/main" id="{54B1AB96-3B05-B543-8CF0-124A254C40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01805" y="5487988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pic>
        <p:nvPicPr>
          <p:cNvPr id="59" name="Рисунок 50">
            <a:extLst>
              <a:ext uri="{FF2B5EF4-FFF2-40B4-BE49-F238E27FC236}">
                <a16:creationId xmlns:a16="http://schemas.microsoft.com/office/drawing/2014/main" id="{1C4B524E-B400-E3E6-C246-62468A03C06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99819" y="5722601"/>
            <a:ext cx="1893991" cy="1038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800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итульный с кластерами (основной 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E85676BF-13EE-4E82-8209-54A859683E8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176"/>
            <a:ext cx="11392318" cy="6407938"/>
          </a:xfrm>
          <a:prstGeom prst="rect">
            <a:avLst/>
          </a:prstGeom>
        </p:spPr>
      </p:pic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086561" y="3469021"/>
            <a:ext cx="6335713" cy="873254"/>
          </a:xfrm>
        </p:spPr>
        <p:txBody>
          <a:bodyPr vert="horz" tIns="0" anchor="t">
            <a:noAutofit/>
          </a:bodyPr>
          <a:lstStyle>
            <a:lvl1pPr>
              <a:lnSpc>
                <a:spcPct val="80000"/>
              </a:lnSpc>
              <a:defRPr kumimoji="0" lang="ru-RU" sz="3200" b="0" i="0" u="none" strike="noStrike" kern="1200" cap="all" spc="0" normalizeH="0" baseline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j-cs"/>
              </a:defRPr>
            </a:lvl1pPr>
          </a:lstStyle>
          <a:p>
            <a:r>
              <a:rPr lang="ru-RU" dirty="0"/>
              <a:t>ШАБЛОН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45" name="Подзаголовок 2">
            <a:extLst>
              <a:ext uri="{FF2B5EF4-FFF2-40B4-BE49-F238E27FC236}">
                <a16:creationId xmlns:a16="http://schemas.microsoft.com/office/drawing/2014/main" id="{7E0A3357-E9E1-C84A-A7A8-1F407D8B72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510" y="6213849"/>
            <a:ext cx="3459560" cy="108000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900" b="0" i="0" cap="none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ДАТА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210F8070-3D82-4F4A-8CBE-3FA34598E8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656" y="5760621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en-US" dirty="0"/>
              <a:t>PETROV.PP@GAZPROM-NEFT.RU</a:t>
            </a:r>
            <a:endParaRPr lang="ru-RU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89376FD-B120-FB4E-96F4-AD3132FE07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6656" y="5590538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П.П. ПЕТРОВ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75E2650-382E-5F4B-8395-A2740C2D0E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656" y="5201002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НАЗВАНИЕ СТРУКТУРНОГО ПОДРАЗДЕЛЕНИЯ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975604B8-2161-EF4C-B8E3-9724CBADF4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6114" y="6380539"/>
            <a:ext cx="3459956" cy="108001"/>
          </a:xfrm>
        </p:spPr>
        <p:txBody>
          <a:bodyPr/>
          <a:lstStyle>
            <a:lvl1pPr marL="0" indent="0">
              <a:buNone/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ВЕРСИЯ</a:t>
            </a:r>
          </a:p>
        </p:txBody>
      </p:sp>
      <p:sp>
        <p:nvSpPr>
          <p:cNvPr id="51" name="Text Placeholder 36">
            <a:extLst>
              <a:ext uri="{FF2B5EF4-FFF2-40B4-BE49-F238E27FC236}">
                <a16:creationId xmlns:a16="http://schemas.microsoft.com/office/drawing/2014/main" id="{F9E6AC4B-EADA-B44E-8DFA-9750E80B7C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1805" y="5174964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78E195AB-EC96-9042-8988-7774718C54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1805" y="6360442"/>
            <a:ext cx="2718197" cy="107998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3" name="Text Placeholder 36">
            <a:extLst>
              <a:ext uri="{FF2B5EF4-FFF2-40B4-BE49-F238E27FC236}">
                <a16:creationId xmlns:a16="http://schemas.microsoft.com/office/drawing/2014/main" id="{E1A917A4-F1EE-734D-9898-93A1D1B0A3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1805" y="5329451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4" name="Text Placeholder 36">
            <a:extLst>
              <a:ext uri="{FF2B5EF4-FFF2-40B4-BE49-F238E27FC236}">
                <a16:creationId xmlns:a16="http://schemas.microsoft.com/office/drawing/2014/main" id="{54B1AB96-3B05-B543-8CF0-124A254C40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01805" y="5487988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pic>
        <p:nvPicPr>
          <p:cNvPr id="59" name="Рисунок 50">
            <a:extLst>
              <a:ext uri="{FF2B5EF4-FFF2-40B4-BE49-F238E27FC236}">
                <a16:creationId xmlns:a16="http://schemas.microsoft.com/office/drawing/2014/main" id="{1C4B524E-B400-E3E6-C246-62468A03C06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99819" y="5722601"/>
            <a:ext cx="1893991" cy="1038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768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 кластерами (основной 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BackGroundTitleSlide"/>
          <p:cNvPicPr>
            <a:picLocks/>
          </p:cNvPicPr>
          <p:nvPr userDrawn="1"/>
        </p:nvPicPr>
        <p:blipFill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1499447" cy="6468439"/>
          </a:xfrm>
          <a:prstGeom prst="rect">
            <a:avLst/>
          </a:prstGeom>
        </p:spPr>
      </p:pic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086561" y="3469021"/>
            <a:ext cx="6335713" cy="873254"/>
          </a:xfrm>
        </p:spPr>
        <p:txBody>
          <a:bodyPr vert="horz" tIns="0" anchor="t">
            <a:noAutofit/>
          </a:bodyPr>
          <a:lstStyle>
            <a:lvl1pPr>
              <a:lnSpc>
                <a:spcPct val="80000"/>
              </a:lnSpc>
              <a:defRPr kumimoji="0" lang="ru-RU" sz="3200" b="0" i="0" u="none" strike="noStrike" kern="1200" cap="all" spc="0" normalizeH="0" baseline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j-cs"/>
              </a:defRPr>
            </a:lvl1pPr>
          </a:lstStyle>
          <a:p>
            <a:r>
              <a:rPr lang="ru-RU" dirty="0"/>
              <a:t>ШАБЛОН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45" name="Подзаголовок 2">
            <a:extLst>
              <a:ext uri="{FF2B5EF4-FFF2-40B4-BE49-F238E27FC236}">
                <a16:creationId xmlns:a16="http://schemas.microsoft.com/office/drawing/2014/main" id="{7E0A3357-E9E1-C84A-A7A8-1F407D8B72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510" y="6213849"/>
            <a:ext cx="3459560" cy="108000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900" b="0" i="0" cap="none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ДАТА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210F8070-3D82-4F4A-8CBE-3FA34598E8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656" y="5760621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en-US" dirty="0"/>
              <a:t>PETROV.PP@GAZPROM-NEFT.RU</a:t>
            </a:r>
            <a:endParaRPr lang="ru-RU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89376FD-B120-FB4E-96F4-AD3132FE07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6656" y="5590538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П.П. ПЕТРОВ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75E2650-382E-5F4B-8395-A2740C2D0E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656" y="5201002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НАЗВАНИЕ СТРУКТУРНОГО ПОДРАЗДЕЛЕНИЯ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975604B8-2161-EF4C-B8E3-9724CBADF4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6114" y="6380539"/>
            <a:ext cx="3459956" cy="108001"/>
          </a:xfrm>
        </p:spPr>
        <p:txBody>
          <a:bodyPr/>
          <a:lstStyle>
            <a:lvl1pPr marL="0" indent="0">
              <a:buNone/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ВЕРСИЯ</a:t>
            </a:r>
          </a:p>
        </p:txBody>
      </p:sp>
      <p:sp>
        <p:nvSpPr>
          <p:cNvPr id="51" name="Text Placeholder 36">
            <a:extLst>
              <a:ext uri="{FF2B5EF4-FFF2-40B4-BE49-F238E27FC236}">
                <a16:creationId xmlns:a16="http://schemas.microsoft.com/office/drawing/2014/main" id="{F9E6AC4B-EADA-B44E-8DFA-9750E80B7C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1805" y="5174964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78E195AB-EC96-9042-8988-7774718C54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1805" y="6360442"/>
            <a:ext cx="2718197" cy="107998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3" name="Text Placeholder 36">
            <a:extLst>
              <a:ext uri="{FF2B5EF4-FFF2-40B4-BE49-F238E27FC236}">
                <a16:creationId xmlns:a16="http://schemas.microsoft.com/office/drawing/2014/main" id="{E1A917A4-F1EE-734D-9898-93A1D1B0A3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1805" y="5329451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4" name="Text Placeholder 36">
            <a:extLst>
              <a:ext uri="{FF2B5EF4-FFF2-40B4-BE49-F238E27FC236}">
                <a16:creationId xmlns:a16="http://schemas.microsoft.com/office/drawing/2014/main" id="{54B1AB96-3B05-B543-8CF0-124A254C40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01805" y="5487988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pic>
        <p:nvPicPr>
          <p:cNvPr id="59" name="Рисунок 50">
            <a:extLst>
              <a:ext uri="{FF2B5EF4-FFF2-40B4-BE49-F238E27FC236}">
                <a16:creationId xmlns:a16="http://schemas.microsoft.com/office/drawing/2014/main" id="{1C4B524E-B400-E3E6-C246-62468A03C06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99819" y="5722601"/>
            <a:ext cx="1893991" cy="1038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597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 кластерами (основной 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BackGroundTitleSlide"/>
          <p:cNvPicPr>
            <a:picLocks/>
          </p:cNvPicPr>
          <p:nvPr userDrawn="1"/>
        </p:nvPicPr>
        <p:blipFill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1524891" cy="6482751"/>
          </a:xfrm>
          <a:prstGeom prst="rect">
            <a:avLst/>
          </a:prstGeom>
        </p:spPr>
      </p:pic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086561" y="3469021"/>
            <a:ext cx="6335713" cy="873254"/>
          </a:xfrm>
        </p:spPr>
        <p:txBody>
          <a:bodyPr vert="horz" tIns="0" anchor="t">
            <a:noAutofit/>
          </a:bodyPr>
          <a:lstStyle>
            <a:lvl1pPr>
              <a:lnSpc>
                <a:spcPct val="80000"/>
              </a:lnSpc>
              <a:defRPr kumimoji="0" lang="ru-RU" sz="3200" b="0" i="0" u="none" strike="noStrike" kern="1200" cap="all" spc="0" normalizeH="0" baseline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j-cs"/>
              </a:defRPr>
            </a:lvl1pPr>
          </a:lstStyle>
          <a:p>
            <a:r>
              <a:rPr lang="ru-RU" dirty="0"/>
              <a:t>ШАБЛОН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45" name="Подзаголовок 2">
            <a:extLst>
              <a:ext uri="{FF2B5EF4-FFF2-40B4-BE49-F238E27FC236}">
                <a16:creationId xmlns:a16="http://schemas.microsoft.com/office/drawing/2014/main" id="{7E0A3357-E9E1-C84A-A7A8-1F407D8B72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510" y="6213849"/>
            <a:ext cx="3459560" cy="108000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900" b="0" i="0" cap="none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ДАТА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210F8070-3D82-4F4A-8CBE-3FA34598E8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656" y="5760621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en-US" dirty="0"/>
              <a:t>PETROV.PP@GAZPROM-NEFT.RU</a:t>
            </a:r>
            <a:endParaRPr lang="ru-RU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89376FD-B120-FB4E-96F4-AD3132FE07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6656" y="5590538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П.П. ПЕТРОВ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75E2650-382E-5F4B-8395-A2740C2D0E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656" y="5201002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НАЗВАНИЕ СТРУКТУРНОГО ПОДРАЗДЕЛЕНИЯ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975604B8-2161-EF4C-B8E3-9724CBADF4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6114" y="6380539"/>
            <a:ext cx="3459956" cy="108001"/>
          </a:xfrm>
        </p:spPr>
        <p:txBody>
          <a:bodyPr/>
          <a:lstStyle>
            <a:lvl1pPr marL="0" indent="0">
              <a:buNone/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ВЕРСИЯ</a:t>
            </a:r>
          </a:p>
        </p:txBody>
      </p:sp>
      <p:sp>
        <p:nvSpPr>
          <p:cNvPr id="51" name="Text Placeholder 36">
            <a:extLst>
              <a:ext uri="{FF2B5EF4-FFF2-40B4-BE49-F238E27FC236}">
                <a16:creationId xmlns:a16="http://schemas.microsoft.com/office/drawing/2014/main" id="{F9E6AC4B-EADA-B44E-8DFA-9750E80B7C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1805" y="5174964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78E195AB-EC96-9042-8988-7774718C54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1805" y="6360442"/>
            <a:ext cx="2718197" cy="107998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3" name="Text Placeholder 36">
            <a:extLst>
              <a:ext uri="{FF2B5EF4-FFF2-40B4-BE49-F238E27FC236}">
                <a16:creationId xmlns:a16="http://schemas.microsoft.com/office/drawing/2014/main" id="{E1A917A4-F1EE-734D-9898-93A1D1B0A3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1805" y="5329451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4" name="Text Placeholder 36">
            <a:extLst>
              <a:ext uri="{FF2B5EF4-FFF2-40B4-BE49-F238E27FC236}">
                <a16:creationId xmlns:a16="http://schemas.microsoft.com/office/drawing/2014/main" id="{54B1AB96-3B05-B543-8CF0-124A254C40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01805" y="5487988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pic>
        <p:nvPicPr>
          <p:cNvPr id="59" name="Рисунок 50">
            <a:extLst>
              <a:ext uri="{FF2B5EF4-FFF2-40B4-BE49-F238E27FC236}">
                <a16:creationId xmlns:a16="http://schemas.microsoft.com/office/drawing/2014/main" id="{1C4B524E-B400-E3E6-C246-62468A03C06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99819" y="5722601"/>
            <a:ext cx="1893991" cy="1038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527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 кластерами (основной 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Рисунок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765" b="-3"/>
          <a:stretch/>
        </p:blipFill>
        <p:spPr>
          <a:xfrm>
            <a:off x="0" y="204"/>
            <a:ext cx="9454551" cy="6628115"/>
          </a:xfrm>
          <a:prstGeom prst="rect">
            <a:avLst/>
          </a:prstGeom>
        </p:spPr>
      </p:pic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086561" y="3469021"/>
            <a:ext cx="6335713" cy="873254"/>
          </a:xfrm>
        </p:spPr>
        <p:txBody>
          <a:bodyPr vert="horz" tIns="0" anchor="t">
            <a:noAutofit/>
          </a:bodyPr>
          <a:lstStyle>
            <a:lvl1pPr>
              <a:lnSpc>
                <a:spcPct val="80000"/>
              </a:lnSpc>
              <a:defRPr kumimoji="0" lang="ru-RU" sz="3200" b="0" i="0" u="none" strike="noStrike" kern="1200" cap="all" spc="0" normalizeH="0" baseline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j-cs"/>
              </a:defRPr>
            </a:lvl1pPr>
          </a:lstStyle>
          <a:p>
            <a:r>
              <a:rPr lang="ru-RU" dirty="0"/>
              <a:t>ШАБЛОН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45" name="Подзаголовок 2">
            <a:extLst>
              <a:ext uri="{FF2B5EF4-FFF2-40B4-BE49-F238E27FC236}">
                <a16:creationId xmlns:a16="http://schemas.microsoft.com/office/drawing/2014/main" id="{7E0A3357-E9E1-C84A-A7A8-1F407D8B72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510" y="6213849"/>
            <a:ext cx="3459560" cy="108000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900" b="0" i="0" cap="none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ДАТА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210F8070-3D82-4F4A-8CBE-3FA34598E8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656" y="5760621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en-US" dirty="0"/>
              <a:t>PETROV.PP@GAZPROM-NEFT.RU</a:t>
            </a:r>
            <a:endParaRPr lang="ru-RU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89376FD-B120-FB4E-96F4-AD3132FE07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6656" y="5590538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П.П. ПЕТРОВ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75E2650-382E-5F4B-8395-A2740C2D0E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656" y="5201002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НАЗВАНИЕ СТРУКТУРНОГО ПОДРАЗДЕЛЕНИЯ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975604B8-2161-EF4C-B8E3-9724CBADF4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6114" y="6380539"/>
            <a:ext cx="3459956" cy="108001"/>
          </a:xfrm>
        </p:spPr>
        <p:txBody>
          <a:bodyPr/>
          <a:lstStyle>
            <a:lvl1pPr marL="0" indent="0">
              <a:buNone/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ВЕРСИЯ</a:t>
            </a:r>
          </a:p>
        </p:txBody>
      </p:sp>
      <p:sp>
        <p:nvSpPr>
          <p:cNvPr id="51" name="Text Placeholder 36">
            <a:extLst>
              <a:ext uri="{FF2B5EF4-FFF2-40B4-BE49-F238E27FC236}">
                <a16:creationId xmlns:a16="http://schemas.microsoft.com/office/drawing/2014/main" id="{F9E6AC4B-EADA-B44E-8DFA-9750E80B7C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1805" y="5174964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78E195AB-EC96-9042-8988-7774718C54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1805" y="6360442"/>
            <a:ext cx="2718197" cy="107998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3" name="Text Placeholder 36">
            <a:extLst>
              <a:ext uri="{FF2B5EF4-FFF2-40B4-BE49-F238E27FC236}">
                <a16:creationId xmlns:a16="http://schemas.microsoft.com/office/drawing/2014/main" id="{E1A917A4-F1EE-734D-9898-93A1D1B0A3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1805" y="5329451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4" name="Text Placeholder 36">
            <a:extLst>
              <a:ext uri="{FF2B5EF4-FFF2-40B4-BE49-F238E27FC236}">
                <a16:creationId xmlns:a16="http://schemas.microsoft.com/office/drawing/2014/main" id="{54B1AB96-3B05-B543-8CF0-124A254C40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01805" y="5487988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pic>
        <p:nvPicPr>
          <p:cNvPr id="59" name="Рисунок 50">
            <a:extLst>
              <a:ext uri="{FF2B5EF4-FFF2-40B4-BE49-F238E27FC236}">
                <a16:creationId xmlns:a16="http://schemas.microsoft.com/office/drawing/2014/main" id="{1C4B524E-B400-E3E6-C246-62468A03C06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99819" y="5722601"/>
            <a:ext cx="1893991" cy="1038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6956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 кластерами (основной 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BackGroundTitleSlide" descr="C:\Program Files\OOO Proector.PowerLexis Panel for GPN\Resources\images\bg\bg7speech.jpg"/>
          <p:cNvPicPr>
            <a:picLocks/>
          </p:cNvPicPr>
          <p:nvPr userDrawn="1"/>
        </p:nvPicPr>
        <p:blipFill rotWithShape="1">
          <a:blip r:embed="rId5" r:link="rId6"/>
          <a:srcRect t="833"/>
          <a:stretch>
            <a:fillRect/>
          </a:stretch>
        </p:blipFill>
        <p:spPr bwMode="auto">
          <a:xfrm>
            <a:off x="0" y="1"/>
            <a:ext cx="11775056" cy="66234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086561" y="3469021"/>
            <a:ext cx="6335713" cy="873254"/>
          </a:xfrm>
        </p:spPr>
        <p:txBody>
          <a:bodyPr vert="horz" tIns="0" anchor="t">
            <a:noAutofit/>
          </a:bodyPr>
          <a:lstStyle>
            <a:lvl1pPr>
              <a:lnSpc>
                <a:spcPct val="80000"/>
              </a:lnSpc>
              <a:defRPr kumimoji="0" lang="ru-RU" sz="3200" b="0" i="0" u="none" strike="noStrike" kern="1200" cap="all" spc="0" normalizeH="0" baseline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j-cs"/>
              </a:defRPr>
            </a:lvl1pPr>
          </a:lstStyle>
          <a:p>
            <a:r>
              <a:rPr lang="ru-RU" dirty="0"/>
              <a:t>ШАБЛОН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45" name="Подзаголовок 2">
            <a:extLst>
              <a:ext uri="{FF2B5EF4-FFF2-40B4-BE49-F238E27FC236}">
                <a16:creationId xmlns:a16="http://schemas.microsoft.com/office/drawing/2014/main" id="{7E0A3357-E9E1-C84A-A7A8-1F407D8B72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510" y="6213849"/>
            <a:ext cx="3459560" cy="108000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900" b="0" i="0" cap="none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ДАТА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210F8070-3D82-4F4A-8CBE-3FA34598E8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656" y="5760621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en-US" dirty="0"/>
              <a:t>PETROV.PP@GAZPROM-NEFT.RU</a:t>
            </a:r>
            <a:endParaRPr lang="ru-RU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89376FD-B120-FB4E-96F4-AD3132FE07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6656" y="5590538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П.П. ПЕТРОВ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75E2650-382E-5F4B-8395-A2740C2D0E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656" y="5201002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НАЗВАНИЕ СТРУКТУРНОГО ПОДРАЗДЕЛЕНИЯ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975604B8-2161-EF4C-B8E3-9724CBADF4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6114" y="6380539"/>
            <a:ext cx="3459956" cy="108001"/>
          </a:xfrm>
        </p:spPr>
        <p:txBody>
          <a:bodyPr/>
          <a:lstStyle>
            <a:lvl1pPr marL="0" indent="0">
              <a:buNone/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ВЕРСИЯ</a:t>
            </a:r>
          </a:p>
        </p:txBody>
      </p:sp>
      <p:sp>
        <p:nvSpPr>
          <p:cNvPr id="51" name="Text Placeholder 36">
            <a:extLst>
              <a:ext uri="{FF2B5EF4-FFF2-40B4-BE49-F238E27FC236}">
                <a16:creationId xmlns:a16="http://schemas.microsoft.com/office/drawing/2014/main" id="{F9E6AC4B-EADA-B44E-8DFA-9750E80B7C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1805" y="5174964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78E195AB-EC96-9042-8988-7774718C54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1805" y="6360442"/>
            <a:ext cx="2718197" cy="107998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3" name="Text Placeholder 36">
            <a:extLst>
              <a:ext uri="{FF2B5EF4-FFF2-40B4-BE49-F238E27FC236}">
                <a16:creationId xmlns:a16="http://schemas.microsoft.com/office/drawing/2014/main" id="{E1A917A4-F1EE-734D-9898-93A1D1B0A3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1805" y="5329451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4" name="Text Placeholder 36">
            <a:extLst>
              <a:ext uri="{FF2B5EF4-FFF2-40B4-BE49-F238E27FC236}">
                <a16:creationId xmlns:a16="http://schemas.microsoft.com/office/drawing/2014/main" id="{54B1AB96-3B05-B543-8CF0-124A254C40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01805" y="5487988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pic>
        <p:nvPicPr>
          <p:cNvPr id="59" name="Рисунок 50">
            <a:extLst>
              <a:ext uri="{FF2B5EF4-FFF2-40B4-BE49-F238E27FC236}">
                <a16:creationId xmlns:a16="http://schemas.microsoft.com/office/drawing/2014/main" id="{1C4B524E-B400-E3E6-C246-62468A03C06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99819" y="5722601"/>
            <a:ext cx="1893991" cy="1038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3241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83CA2-8693-4AFB-B41D-3EF0B4970091}" type="datetimeFigureOut">
              <a:rPr lang="ru-RU" smtClean="0"/>
              <a:t>09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ABA8E-A86D-4D17-8897-FCA1AD88C3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73218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 кластерами (основной 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CB77B9B2-0973-4B4C-AD87-2A7F60A90F0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1398367" cy="6411581"/>
          </a:xfrm>
          <a:prstGeom prst="rect">
            <a:avLst/>
          </a:prstGeom>
        </p:spPr>
      </p:pic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086561" y="3469021"/>
            <a:ext cx="6335713" cy="873254"/>
          </a:xfrm>
        </p:spPr>
        <p:txBody>
          <a:bodyPr vert="horz" tIns="0" anchor="t">
            <a:noAutofit/>
          </a:bodyPr>
          <a:lstStyle>
            <a:lvl1pPr>
              <a:lnSpc>
                <a:spcPct val="80000"/>
              </a:lnSpc>
              <a:defRPr kumimoji="0" lang="ru-RU" sz="3200" b="0" i="0" u="none" strike="noStrike" kern="1200" cap="all" spc="0" normalizeH="0" baseline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j-cs"/>
              </a:defRPr>
            </a:lvl1pPr>
          </a:lstStyle>
          <a:p>
            <a:r>
              <a:rPr lang="ru-RU" dirty="0"/>
              <a:t>ШАБЛОН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45" name="Подзаголовок 2">
            <a:extLst>
              <a:ext uri="{FF2B5EF4-FFF2-40B4-BE49-F238E27FC236}">
                <a16:creationId xmlns:a16="http://schemas.microsoft.com/office/drawing/2014/main" id="{7E0A3357-E9E1-C84A-A7A8-1F407D8B72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510" y="6213849"/>
            <a:ext cx="3459560" cy="108000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900" b="0" i="0" cap="none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ДАТА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210F8070-3D82-4F4A-8CBE-3FA34598E8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656" y="5760621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en-US" dirty="0"/>
              <a:t>PETROV.PP@GAZPROM-NEFT.RU</a:t>
            </a:r>
            <a:endParaRPr lang="ru-RU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89376FD-B120-FB4E-96F4-AD3132FE07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6656" y="5590538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П.П. ПЕТРОВ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75E2650-382E-5F4B-8395-A2740C2D0E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656" y="5201002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НАЗВАНИЕ СТРУКТУРНОГО ПОДРАЗДЕЛЕНИЯ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975604B8-2161-EF4C-B8E3-9724CBADF4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6114" y="6380539"/>
            <a:ext cx="3459956" cy="108001"/>
          </a:xfrm>
        </p:spPr>
        <p:txBody>
          <a:bodyPr/>
          <a:lstStyle>
            <a:lvl1pPr marL="0" indent="0">
              <a:buNone/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ВЕРСИЯ</a:t>
            </a:r>
          </a:p>
        </p:txBody>
      </p:sp>
      <p:sp>
        <p:nvSpPr>
          <p:cNvPr id="51" name="Text Placeholder 36">
            <a:extLst>
              <a:ext uri="{FF2B5EF4-FFF2-40B4-BE49-F238E27FC236}">
                <a16:creationId xmlns:a16="http://schemas.microsoft.com/office/drawing/2014/main" id="{F9E6AC4B-EADA-B44E-8DFA-9750E80B7C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1805" y="5174964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78E195AB-EC96-9042-8988-7774718C54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1805" y="6360442"/>
            <a:ext cx="2718197" cy="107998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3" name="Text Placeholder 36">
            <a:extLst>
              <a:ext uri="{FF2B5EF4-FFF2-40B4-BE49-F238E27FC236}">
                <a16:creationId xmlns:a16="http://schemas.microsoft.com/office/drawing/2014/main" id="{E1A917A4-F1EE-734D-9898-93A1D1B0A3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1805" y="5329451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4" name="Text Placeholder 36">
            <a:extLst>
              <a:ext uri="{FF2B5EF4-FFF2-40B4-BE49-F238E27FC236}">
                <a16:creationId xmlns:a16="http://schemas.microsoft.com/office/drawing/2014/main" id="{54B1AB96-3B05-B543-8CF0-124A254C40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01805" y="5487988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pic>
        <p:nvPicPr>
          <p:cNvPr id="59" name="Рисунок 50">
            <a:extLst>
              <a:ext uri="{FF2B5EF4-FFF2-40B4-BE49-F238E27FC236}">
                <a16:creationId xmlns:a16="http://schemas.microsoft.com/office/drawing/2014/main" id="{1C4B524E-B400-E3E6-C246-62468A03C06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99819" y="5722601"/>
            <a:ext cx="1893991" cy="1038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9701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 кластерами и виз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BackGroundTitleSlide">
            <a:extLst>
              <a:ext uri="{FF2B5EF4-FFF2-40B4-BE49-F238E27FC236}">
                <a16:creationId xmlns:a16="http://schemas.microsoft.com/office/drawing/2014/main" id="{D985F08A-7410-BA40-A9E1-F8204D1683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1" y="762"/>
            <a:ext cx="11396813" cy="6413298"/>
          </a:xfrm>
          <a:prstGeom prst="rect">
            <a:avLst/>
          </a:prstGeom>
        </p:spPr>
      </p:pic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086561" y="3469021"/>
            <a:ext cx="6335713" cy="873254"/>
          </a:xfrm>
        </p:spPr>
        <p:txBody>
          <a:bodyPr vert="horz" tIns="0" anchor="t">
            <a:noAutofit/>
          </a:bodyPr>
          <a:lstStyle>
            <a:lvl1pPr>
              <a:lnSpc>
                <a:spcPct val="80000"/>
              </a:lnSpc>
              <a:defRPr kumimoji="0" lang="ru-RU" sz="3200" b="0" i="0" u="none" strike="noStrike" kern="1200" cap="all" spc="0" normalizeH="0" baseline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j-cs"/>
              </a:defRPr>
            </a:lvl1pPr>
          </a:lstStyle>
          <a:p>
            <a:r>
              <a:rPr lang="ru-RU" dirty="0"/>
              <a:t>ШАБЛОН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45" name="Подзаголовок 2">
            <a:extLst>
              <a:ext uri="{FF2B5EF4-FFF2-40B4-BE49-F238E27FC236}">
                <a16:creationId xmlns:a16="http://schemas.microsoft.com/office/drawing/2014/main" id="{7E0A3357-E9E1-C84A-A7A8-1F407D8B72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510" y="6213849"/>
            <a:ext cx="3459560" cy="108000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900" b="0" i="0" cap="none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ДАТА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210F8070-3D82-4F4A-8CBE-3FA34598E8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656" y="5760621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en-US" dirty="0"/>
              <a:t>PETROV.PP@GAZPROM-NEFT.RU</a:t>
            </a:r>
            <a:endParaRPr lang="ru-RU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89376FD-B120-FB4E-96F4-AD3132FE07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6656" y="5590538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П.П. ПЕТРОВ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75E2650-382E-5F4B-8395-A2740C2D0E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656" y="5201002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НАЗВАНИЕ СТРУКТУРНОГО ПОДРАЗДЕЛЕНИЯ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975604B8-2161-EF4C-B8E3-9724CBADF4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6114" y="6380539"/>
            <a:ext cx="3459956" cy="108001"/>
          </a:xfrm>
        </p:spPr>
        <p:txBody>
          <a:bodyPr/>
          <a:lstStyle>
            <a:lvl1pPr marL="0" indent="0">
              <a:buNone/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ВЕРСИЯ</a:t>
            </a:r>
          </a:p>
        </p:txBody>
      </p:sp>
      <p:cxnSp>
        <p:nvCxnSpPr>
          <p:cNvPr id="50" name="Straight Connector 8">
            <a:extLst>
              <a:ext uri="{FF2B5EF4-FFF2-40B4-BE49-F238E27FC236}">
                <a16:creationId xmlns:a16="http://schemas.microsoft.com/office/drawing/2014/main" id="{B5EE06EA-7BE4-6549-9492-5F13D7BA1707}"/>
              </a:ext>
            </a:extLst>
          </p:cNvPr>
          <p:cNvCxnSpPr>
            <a:cxnSpLocks/>
          </p:cNvCxnSpPr>
          <p:nvPr userDrawn="1"/>
        </p:nvCxnSpPr>
        <p:spPr>
          <a:xfrm>
            <a:off x="5101805" y="6324637"/>
            <a:ext cx="1785938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36">
            <a:extLst>
              <a:ext uri="{FF2B5EF4-FFF2-40B4-BE49-F238E27FC236}">
                <a16:creationId xmlns:a16="http://schemas.microsoft.com/office/drawing/2014/main" id="{F9E6AC4B-EADA-B44E-8DFA-9750E80B7C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1805" y="5174964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УТВЕРЖДАЮ:</a:t>
            </a:r>
          </a:p>
        </p:txBody>
      </p: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78E195AB-EC96-9042-8988-7774718C54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1805" y="6360442"/>
            <a:ext cx="2718197" cy="107998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И.И. ИВАНОВ</a:t>
            </a:r>
          </a:p>
        </p:txBody>
      </p:sp>
      <p:sp>
        <p:nvSpPr>
          <p:cNvPr id="53" name="Text Placeholder 36">
            <a:extLst>
              <a:ext uri="{FF2B5EF4-FFF2-40B4-BE49-F238E27FC236}">
                <a16:creationId xmlns:a16="http://schemas.microsoft.com/office/drawing/2014/main" id="{E1A917A4-F1EE-734D-9898-93A1D1B0A3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1805" y="5329451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54" name="Text Placeholder 36">
            <a:extLst>
              <a:ext uri="{FF2B5EF4-FFF2-40B4-BE49-F238E27FC236}">
                <a16:creationId xmlns:a16="http://schemas.microsoft.com/office/drawing/2014/main" id="{54B1AB96-3B05-B543-8CF0-124A254C40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01805" y="5487988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В ДВЕ СТРОКИ</a:t>
            </a:r>
          </a:p>
        </p:txBody>
      </p:sp>
      <p:pic>
        <p:nvPicPr>
          <p:cNvPr id="59" name="Рисунок 50">
            <a:extLst>
              <a:ext uri="{FF2B5EF4-FFF2-40B4-BE49-F238E27FC236}">
                <a16:creationId xmlns:a16="http://schemas.microsoft.com/office/drawing/2014/main" id="{1C4B524E-B400-E3E6-C246-62468A03C06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99819" y="5722601"/>
            <a:ext cx="1893991" cy="1038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8886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8C3F9270-DCC8-95F0-7E4F-B73666808C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6368" y="761"/>
            <a:ext cx="9939600" cy="4857269"/>
          </a:xfrm>
          <a:prstGeom prst="rect">
            <a:avLst/>
          </a:prstGeom>
        </p:spPr>
      </p:pic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086561" y="3469021"/>
            <a:ext cx="6335713" cy="873254"/>
          </a:xfrm>
        </p:spPr>
        <p:txBody>
          <a:bodyPr vert="horz" tIns="0" anchor="t">
            <a:noAutofit/>
          </a:bodyPr>
          <a:lstStyle>
            <a:lvl1pPr>
              <a:lnSpc>
                <a:spcPct val="80000"/>
              </a:lnSpc>
              <a:defRPr kumimoji="0" lang="ru-RU" sz="3200" b="0" i="0" u="none" strike="noStrike" kern="1200" cap="all" spc="0" normalizeH="0" baseline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j-cs"/>
              </a:defRPr>
            </a:lvl1pPr>
          </a:lstStyle>
          <a:p>
            <a:r>
              <a:rPr lang="ru-RU" dirty="0"/>
              <a:t>ШАБЛОН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45" name="Подзаголовок 2">
            <a:extLst>
              <a:ext uri="{FF2B5EF4-FFF2-40B4-BE49-F238E27FC236}">
                <a16:creationId xmlns:a16="http://schemas.microsoft.com/office/drawing/2014/main" id="{7E0A3357-E9E1-C84A-A7A8-1F407D8B72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510" y="6213849"/>
            <a:ext cx="3459560" cy="108000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900" b="0" i="0" cap="none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ДАТА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210F8070-3D82-4F4A-8CBE-3FA34598E8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656" y="5760621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en-US" dirty="0"/>
              <a:t>PETROV.PP@GAZPROM-NEFT.RU</a:t>
            </a:r>
            <a:endParaRPr lang="ru-RU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89376FD-B120-FB4E-96F4-AD3132FE07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6656" y="5590538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П.П. ПЕТРОВ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75E2650-382E-5F4B-8395-A2740C2D0E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656" y="5201002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НАЗВАНИЕ СТРУКТУРНОГО ПОДРАЗДЕЛЕНИЯ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975604B8-2161-EF4C-B8E3-9724CBADF4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6114" y="6380539"/>
            <a:ext cx="3459956" cy="108001"/>
          </a:xfrm>
        </p:spPr>
        <p:txBody>
          <a:bodyPr/>
          <a:lstStyle>
            <a:lvl1pPr marL="0" indent="0">
              <a:buNone/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ВЕРСИЯ</a:t>
            </a:r>
          </a:p>
        </p:txBody>
      </p:sp>
      <p:sp>
        <p:nvSpPr>
          <p:cNvPr id="51" name="Text Placeholder 36">
            <a:extLst>
              <a:ext uri="{FF2B5EF4-FFF2-40B4-BE49-F238E27FC236}">
                <a16:creationId xmlns:a16="http://schemas.microsoft.com/office/drawing/2014/main" id="{F9E6AC4B-EADA-B44E-8DFA-9750E80B7C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1805" y="5174964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78E195AB-EC96-9042-8988-7774718C54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1805" y="6360442"/>
            <a:ext cx="2718197" cy="107998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3" name="Text Placeholder 36">
            <a:extLst>
              <a:ext uri="{FF2B5EF4-FFF2-40B4-BE49-F238E27FC236}">
                <a16:creationId xmlns:a16="http://schemas.microsoft.com/office/drawing/2014/main" id="{E1A917A4-F1EE-734D-9898-93A1D1B0A3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1805" y="5329451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4" name="Text Placeholder 36">
            <a:extLst>
              <a:ext uri="{FF2B5EF4-FFF2-40B4-BE49-F238E27FC236}">
                <a16:creationId xmlns:a16="http://schemas.microsoft.com/office/drawing/2014/main" id="{54B1AB96-3B05-B543-8CF0-124A254C40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01805" y="5487988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pic>
        <p:nvPicPr>
          <p:cNvPr id="59" name="Рисунок 50">
            <a:extLst>
              <a:ext uri="{FF2B5EF4-FFF2-40B4-BE49-F238E27FC236}">
                <a16:creationId xmlns:a16="http://schemas.microsoft.com/office/drawing/2014/main" id="{1C4B524E-B400-E3E6-C246-62468A03C06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99819" y="5722601"/>
            <a:ext cx="1893991" cy="1038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9629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 фото и виз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>
            <a:extLst>
              <a:ext uri="{FF2B5EF4-FFF2-40B4-BE49-F238E27FC236}">
                <a16:creationId xmlns:a16="http://schemas.microsoft.com/office/drawing/2014/main" id="{B9DFCC4C-131D-4AD9-BA2D-0E2402B8A81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6368" y="761"/>
            <a:ext cx="9939600" cy="4857269"/>
          </a:xfrm>
          <a:prstGeom prst="rect">
            <a:avLst/>
          </a:prstGeom>
        </p:spPr>
      </p:pic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086561" y="3469021"/>
            <a:ext cx="6335713" cy="873254"/>
          </a:xfrm>
        </p:spPr>
        <p:txBody>
          <a:bodyPr vert="horz" tIns="0" anchor="t">
            <a:noAutofit/>
          </a:bodyPr>
          <a:lstStyle>
            <a:lvl1pPr>
              <a:lnSpc>
                <a:spcPct val="80000"/>
              </a:lnSpc>
              <a:defRPr kumimoji="0" lang="ru-RU" sz="3200" b="0" i="0" u="none" strike="noStrike" kern="1200" cap="all" spc="0" normalizeH="0" baseline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j-cs"/>
              </a:defRPr>
            </a:lvl1pPr>
          </a:lstStyle>
          <a:p>
            <a:r>
              <a:rPr lang="ru-RU" dirty="0"/>
              <a:t>ШАБЛОН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45" name="Подзаголовок 2">
            <a:extLst>
              <a:ext uri="{FF2B5EF4-FFF2-40B4-BE49-F238E27FC236}">
                <a16:creationId xmlns:a16="http://schemas.microsoft.com/office/drawing/2014/main" id="{7E0A3357-E9E1-C84A-A7A8-1F407D8B72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510" y="6213849"/>
            <a:ext cx="3459560" cy="108000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900" b="0" i="0" cap="none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ДАТА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210F8070-3D82-4F4A-8CBE-3FA34598E8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656" y="5760621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en-US" dirty="0"/>
              <a:t>PETROV.PP@GAZPROM-NEFT.RU</a:t>
            </a:r>
            <a:endParaRPr lang="ru-RU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89376FD-B120-FB4E-96F4-AD3132FE07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6656" y="5590538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П.П. ПЕТРОВ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75E2650-382E-5F4B-8395-A2740C2D0E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656" y="5201002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НАЗВАНИЕ СТРУКТУРНОГО ПОДРАЗДЕЛЕНИЯ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975604B8-2161-EF4C-B8E3-9724CBADF4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6114" y="6380539"/>
            <a:ext cx="3459956" cy="108001"/>
          </a:xfrm>
        </p:spPr>
        <p:txBody>
          <a:bodyPr/>
          <a:lstStyle>
            <a:lvl1pPr marL="0" indent="0">
              <a:buNone/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ВЕРСИЯ</a:t>
            </a:r>
          </a:p>
        </p:txBody>
      </p:sp>
      <p:cxnSp>
        <p:nvCxnSpPr>
          <p:cNvPr id="50" name="Straight Connector 8">
            <a:extLst>
              <a:ext uri="{FF2B5EF4-FFF2-40B4-BE49-F238E27FC236}">
                <a16:creationId xmlns:a16="http://schemas.microsoft.com/office/drawing/2014/main" id="{B5EE06EA-7BE4-6549-9492-5F13D7BA1707}"/>
              </a:ext>
            </a:extLst>
          </p:cNvPr>
          <p:cNvCxnSpPr>
            <a:cxnSpLocks/>
          </p:cNvCxnSpPr>
          <p:nvPr userDrawn="1"/>
        </p:nvCxnSpPr>
        <p:spPr>
          <a:xfrm>
            <a:off x="5101805" y="6324637"/>
            <a:ext cx="1785938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36">
            <a:extLst>
              <a:ext uri="{FF2B5EF4-FFF2-40B4-BE49-F238E27FC236}">
                <a16:creationId xmlns:a16="http://schemas.microsoft.com/office/drawing/2014/main" id="{F9E6AC4B-EADA-B44E-8DFA-9750E80B7C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1805" y="5174964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УТВЕРЖДАЮ:</a:t>
            </a:r>
          </a:p>
        </p:txBody>
      </p: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78E195AB-EC96-9042-8988-7774718C54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1805" y="6360442"/>
            <a:ext cx="2718197" cy="107998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И.И. ИВАНОВ</a:t>
            </a:r>
          </a:p>
        </p:txBody>
      </p:sp>
      <p:sp>
        <p:nvSpPr>
          <p:cNvPr id="53" name="Text Placeholder 36">
            <a:extLst>
              <a:ext uri="{FF2B5EF4-FFF2-40B4-BE49-F238E27FC236}">
                <a16:creationId xmlns:a16="http://schemas.microsoft.com/office/drawing/2014/main" id="{E1A917A4-F1EE-734D-9898-93A1D1B0A3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1805" y="5329451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54" name="Text Placeholder 36">
            <a:extLst>
              <a:ext uri="{FF2B5EF4-FFF2-40B4-BE49-F238E27FC236}">
                <a16:creationId xmlns:a16="http://schemas.microsoft.com/office/drawing/2014/main" id="{54B1AB96-3B05-B543-8CF0-124A254C40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01805" y="5487988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В ДВЕ СТРОКИ</a:t>
            </a:r>
          </a:p>
        </p:txBody>
      </p:sp>
      <p:pic>
        <p:nvPicPr>
          <p:cNvPr id="59" name="Рисунок 50">
            <a:extLst>
              <a:ext uri="{FF2B5EF4-FFF2-40B4-BE49-F238E27FC236}">
                <a16:creationId xmlns:a16="http://schemas.microsoft.com/office/drawing/2014/main" id="{1C4B524E-B400-E3E6-C246-62468A03C06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99819" y="5722601"/>
            <a:ext cx="1893991" cy="1038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20870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олько 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AC9CFC8-9240-794B-99C5-9E7F77ABB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vert="horz" wrap="square"/>
          <a:lstStyle>
            <a:lvl1pPr>
              <a:defRPr sz="2400" b="0" i="0"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4BF4718D-6139-319F-8F0F-08DA8DA4E8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5710" y="6296520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rgbClr val="7E7E7E"/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/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050239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id="{4BF4718D-6139-319F-8F0F-08DA8DA4E8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5710" y="6296520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rgbClr val="7E7E7E"/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/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702033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1 строка">
    <p:bg>
      <p:bgPr>
        <a:solidFill>
          <a:srgbClr val="0045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1F8DBAA-4A26-47DF-DF5E-A862447DB1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1804" y="2317373"/>
            <a:ext cx="1428751" cy="352425"/>
          </a:xfrm>
        </p:spPr>
        <p:txBody>
          <a:bodyPr lIns="0" r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PN_DIN Condensed Bold" panose="020B0706020202020204" pitchFamily="34" charset="77"/>
                <a:ea typeface="GPN_DIN Condensed Bold" panose="020B0706020202020204" pitchFamily="34" charset="77"/>
                <a:cs typeface="+mn-cs"/>
              </a:defRPr>
            </a:lvl1pPr>
          </a:lstStyle>
          <a:p>
            <a:pPr lvl="0"/>
            <a:r>
              <a:rPr lang="ru-RU" dirty="0"/>
              <a:t>РАЗДЕЛ 01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299A0925-28C5-E43F-F531-C83457B29A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1804" y="4087211"/>
            <a:ext cx="3469146" cy="215468"/>
          </a:xfrm>
        </p:spPr>
        <p:txBody>
          <a:bodyPr lIns="0" tIns="0" rIns="0" b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GPN_DIN Condensed Regular" panose="020B0704020202020204" pitchFamily="34" charset="77"/>
                <a:cs typeface="+mn-cs"/>
              </a:defRPr>
            </a:lvl1pPr>
          </a:lstStyle>
          <a:p>
            <a:pPr lvl="0"/>
            <a:r>
              <a:rPr lang="ru-RU" dirty="0"/>
              <a:t>АННОТАЦИЯ К РАЗДЕЛУ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AB3415EB-5D86-E9B4-EDAC-4C3112FE15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1803" y="3093668"/>
            <a:ext cx="10920819" cy="472112"/>
          </a:xfrm>
        </p:spPr>
        <p:txBody>
          <a:bodyPr lIns="0" rIns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defRPr kumimoji="0" lang="ru-RU" sz="4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PN_DIN Condensed Bold" panose="020B0706020202020204" pitchFamily="34" charset="77"/>
                <a:ea typeface="GPN_DIN Condensed Bold" panose="020B0706020202020204" pitchFamily="34" charset="77"/>
                <a:cs typeface="+mn-cs"/>
              </a:defRPr>
            </a:lvl1pPr>
          </a:lstStyle>
          <a:p>
            <a:pPr lvl="0"/>
            <a:r>
              <a:rPr lang="ru-RU" dirty="0"/>
              <a:t>НАЗВАНИЕ РАЗДЕЛА В ОДНУ СТРОКУ</a:t>
            </a:r>
          </a:p>
        </p:txBody>
      </p:sp>
      <p:cxnSp>
        <p:nvCxnSpPr>
          <p:cNvPr id="28" name="Straight Connector 14">
            <a:extLst>
              <a:ext uri="{FF2B5EF4-FFF2-40B4-BE49-F238E27FC236}">
                <a16:creationId xmlns:a16="http://schemas.microsoft.com/office/drawing/2014/main" id="{E464BC2B-2C22-6E3C-3CC4-2AD33EAE6ABE}"/>
              </a:ext>
            </a:extLst>
          </p:cNvPr>
          <p:cNvCxnSpPr>
            <a:cxnSpLocks/>
          </p:cNvCxnSpPr>
          <p:nvPr userDrawn="1"/>
        </p:nvCxnSpPr>
        <p:spPr>
          <a:xfrm>
            <a:off x="335967" y="2961043"/>
            <a:ext cx="675871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4">
            <a:extLst>
              <a:ext uri="{FF2B5EF4-FFF2-40B4-BE49-F238E27FC236}">
                <a16:creationId xmlns:a16="http://schemas.microsoft.com/office/drawing/2014/main" id="{A8E59309-6BE9-75FB-2032-994234894800}"/>
              </a:ext>
            </a:extLst>
          </p:cNvPr>
          <p:cNvCxnSpPr>
            <a:cxnSpLocks/>
          </p:cNvCxnSpPr>
          <p:nvPr userDrawn="1"/>
        </p:nvCxnSpPr>
        <p:spPr>
          <a:xfrm>
            <a:off x="335967" y="3698405"/>
            <a:ext cx="675871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4719EBA1-3353-9B43-9EF7-970D3251E4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/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/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3545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2 строки">
    <p:bg>
      <p:bgPr>
        <a:solidFill>
          <a:srgbClr val="0045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4125BE-D57A-EE4C-A01A-2BB074617E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1804" y="2317373"/>
            <a:ext cx="1428751" cy="352425"/>
          </a:xfrm>
        </p:spPr>
        <p:txBody>
          <a:bodyPr lIns="0" r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PN_DIN Condensed Bold" panose="020B0706020202020204" pitchFamily="34" charset="77"/>
                <a:ea typeface="GPN_DIN Condensed Bold" panose="020B0706020202020204" pitchFamily="34" charset="77"/>
                <a:cs typeface="+mn-cs"/>
              </a:defRPr>
            </a:lvl1pPr>
          </a:lstStyle>
          <a:p>
            <a:pPr lvl="0"/>
            <a:r>
              <a:rPr lang="ru-RU" dirty="0"/>
              <a:t>РАЗДЕЛ 01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B940FC9C-C932-D449-A86E-4BDEF56506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1804" y="3094128"/>
            <a:ext cx="4311156" cy="942269"/>
          </a:xfrm>
        </p:spPr>
        <p:txBody>
          <a:bodyPr lIns="0" rIns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defRPr kumimoji="0" lang="ru-RU" sz="4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PN_DIN Condensed Bold" panose="020B0706020202020204" pitchFamily="34" charset="77"/>
                <a:ea typeface="GPN_DIN Condensed Bold" panose="020B0706020202020204" pitchFamily="34" charset="77"/>
                <a:cs typeface="+mn-cs"/>
              </a:defRPr>
            </a:lvl1pPr>
          </a:lstStyle>
          <a:p>
            <a:pPr lvl="0"/>
            <a:r>
              <a:rPr lang="ru-RU" dirty="0"/>
              <a:t>НАЗВАНИЕ РАЗДЕЛА В ДВЕ СТРОКИ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836D4B0-5F46-3645-87D5-2D12896CC0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1804" y="4740194"/>
            <a:ext cx="3469146" cy="215468"/>
          </a:xfrm>
        </p:spPr>
        <p:txBody>
          <a:bodyPr lIns="0" tIns="0" rIns="0" b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GPN_DIN Condensed Regular" panose="020B0506020202020204" pitchFamily="34" charset="77"/>
                <a:cs typeface="+mn-cs"/>
              </a:defRPr>
            </a:lvl1pPr>
          </a:lstStyle>
          <a:p>
            <a:pPr lvl="0"/>
            <a:r>
              <a:rPr lang="ru-RU" dirty="0"/>
              <a:t>АННОТАЦИЯ К РАЗДЕЛУ</a:t>
            </a:r>
          </a:p>
        </p:txBody>
      </p:sp>
      <p:cxnSp>
        <p:nvCxnSpPr>
          <p:cNvPr id="13" name="Straight Connector 14">
            <a:extLst>
              <a:ext uri="{FF2B5EF4-FFF2-40B4-BE49-F238E27FC236}">
                <a16:creationId xmlns:a16="http://schemas.microsoft.com/office/drawing/2014/main" id="{F948FACA-4646-864E-B1F4-E9E3BCFC35BB}"/>
              </a:ext>
            </a:extLst>
          </p:cNvPr>
          <p:cNvCxnSpPr>
            <a:cxnSpLocks/>
          </p:cNvCxnSpPr>
          <p:nvPr userDrawn="1"/>
        </p:nvCxnSpPr>
        <p:spPr>
          <a:xfrm>
            <a:off x="321742" y="2850515"/>
            <a:ext cx="506903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5">
            <a:extLst>
              <a:ext uri="{FF2B5EF4-FFF2-40B4-BE49-F238E27FC236}">
                <a16:creationId xmlns:a16="http://schemas.microsoft.com/office/drawing/2014/main" id="{BF1AFA75-B457-474D-A9BC-84F95068DC45}"/>
              </a:ext>
            </a:extLst>
          </p:cNvPr>
          <p:cNvCxnSpPr>
            <a:cxnSpLocks/>
          </p:cNvCxnSpPr>
          <p:nvPr userDrawn="1"/>
        </p:nvCxnSpPr>
        <p:spPr>
          <a:xfrm>
            <a:off x="321742" y="4292600"/>
            <a:ext cx="506903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Номер слайда 1">
            <a:extLst>
              <a:ext uri="{FF2B5EF4-FFF2-40B4-BE49-F238E27FC236}">
                <a16:creationId xmlns:a16="http://schemas.microsoft.com/office/drawing/2014/main" id="{B376282C-721B-324F-95F8-F49EC83F6E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/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/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383521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2 строки и фото">
    <p:bg>
      <p:bgPr>
        <a:solidFill>
          <a:srgbClr val="0045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95C28D77-899F-72F0-A5C2-9A571584451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855367" y="-5400"/>
            <a:ext cx="6336633" cy="6868800"/>
          </a:xfrm>
          <a:custGeom>
            <a:avLst/>
            <a:gdLst>
              <a:gd name="connsiteX0" fmla="*/ 0 w 6336633"/>
              <a:gd name="connsiteY0" fmla="*/ 0 h 6857999"/>
              <a:gd name="connsiteX1" fmla="*/ 6336633 w 6336633"/>
              <a:gd name="connsiteY1" fmla="*/ 0 h 6857999"/>
              <a:gd name="connsiteX2" fmla="*/ 6336633 w 6336633"/>
              <a:gd name="connsiteY2" fmla="*/ 6857999 h 6857999"/>
              <a:gd name="connsiteX3" fmla="*/ 0 w 6336633"/>
              <a:gd name="connsiteY3" fmla="*/ 6857999 h 6857999"/>
              <a:gd name="connsiteX4" fmla="*/ 0 w 6336633"/>
              <a:gd name="connsiteY4" fmla="*/ 0 h 6857999"/>
              <a:gd name="connsiteX0" fmla="*/ 1466850 w 6336633"/>
              <a:gd name="connsiteY0" fmla="*/ 9525 h 6857999"/>
              <a:gd name="connsiteX1" fmla="*/ 6336633 w 6336633"/>
              <a:gd name="connsiteY1" fmla="*/ 0 h 6857999"/>
              <a:gd name="connsiteX2" fmla="*/ 6336633 w 6336633"/>
              <a:gd name="connsiteY2" fmla="*/ 6857999 h 6857999"/>
              <a:gd name="connsiteX3" fmla="*/ 0 w 6336633"/>
              <a:gd name="connsiteY3" fmla="*/ 6857999 h 6857999"/>
              <a:gd name="connsiteX4" fmla="*/ 1466850 w 6336633"/>
              <a:gd name="connsiteY4" fmla="*/ 95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36633" h="6857999">
                <a:moveTo>
                  <a:pt x="1466850" y="9525"/>
                </a:moveTo>
                <a:lnTo>
                  <a:pt x="6336633" y="0"/>
                </a:lnTo>
                <a:lnTo>
                  <a:pt x="6336633" y="6857999"/>
                </a:lnTo>
                <a:lnTo>
                  <a:pt x="0" y="6857999"/>
                </a:lnTo>
                <a:lnTo>
                  <a:pt x="1466850" y="9525"/>
                </a:ln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7FCB869-430C-8A42-A27D-D3AB11742F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1804" y="2317373"/>
            <a:ext cx="1428751" cy="352425"/>
          </a:xfrm>
        </p:spPr>
        <p:txBody>
          <a:bodyPr lIns="0" r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PN_DIN Condensed Bold" panose="020B0706020202020204" pitchFamily="34" charset="77"/>
                <a:ea typeface="GPN_DIN Condensed Bold" panose="020B0706020202020204" pitchFamily="34" charset="77"/>
                <a:cs typeface="+mn-cs"/>
              </a:defRPr>
            </a:lvl1pPr>
          </a:lstStyle>
          <a:p>
            <a:pPr lvl="0"/>
            <a:r>
              <a:rPr lang="ru-RU" dirty="0"/>
              <a:t>РАЗДЕЛ 01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E364D1A-61F4-F543-A859-89227795B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1804" y="3094128"/>
            <a:ext cx="5240796" cy="942269"/>
          </a:xfrm>
        </p:spPr>
        <p:txBody>
          <a:bodyPr lIns="0" rIns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defRPr kumimoji="0" lang="ru-RU" sz="4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PN_DIN Condensed Bold" panose="020B0706020202020204" pitchFamily="34" charset="77"/>
                <a:ea typeface="GPN_DIN Condensed Bold" panose="020B0706020202020204" pitchFamily="34" charset="77"/>
                <a:cs typeface="+mn-cs"/>
              </a:defRPr>
            </a:lvl1pPr>
          </a:lstStyle>
          <a:p>
            <a:pPr lvl="0"/>
            <a:r>
              <a:rPr lang="ru-RU" dirty="0"/>
              <a:t>НАЗВАНИЕ РАЗДЕЛА </a:t>
            </a:r>
          </a:p>
          <a:p>
            <a:pPr lvl="0"/>
            <a:r>
              <a:rPr lang="ru-RU" dirty="0"/>
              <a:t>В ДВЕ СТРОКИ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22041BD-E345-5241-9EEF-3501F046B9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1804" y="4740194"/>
            <a:ext cx="3469146" cy="215468"/>
          </a:xfrm>
        </p:spPr>
        <p:txBody>
          <a:bodyPr lIns="0" tIns="0" rIns="0" b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GPN_DIN Condensed Regular" panose="020B0506020202020204" pitchFamily="34" charset="77"/>
                <a:cs typeface="+mn-cs"/>
              </a:defRPr>
            </a:lvl1pPr>
          </a:lstStyle>
          <a:p>
            <a:pPr lvl="0"/>
            <a:r>
              <a:rPr lang="ru-RU" dirty="0"/>
              <a:t>АННОТАЦИЯ К РАЗДЕЛУ</a:t>
            </a:r>
          </a:p>
        </p:txBody>
      </p:sp>
      <p:cxnSp>
        <p:nvCxnSpPr>
          <p:cNvPr id="14" name="Straight Connector 14">
            <a:extLst>
              <a:ext uri="{FF2B5EF4-FFF2-40B4-BE49-F238E27FC236}">
                <a16:creationId xmlns:a16="http://schemas.microsoft.com/office/drawing/2014/main" id="{E842D932-CAE3-EA44-95E3-DF2BA7BB5465}"/>
              </a:ext>
            </a:extLst>
          </p:cNvPr>
          <p:cNvCxnSpPr>
            <a:cxnSpLocks/>
          </p:cNvCxnSpPr>
          <p:nvPr userDrawn="1"/>
        </p:nvCxnSpPr>
        <p:spPr>
          <a:xfrm>
            <a:off x="321742" y="2850515"/>
            <a:ext cx="506903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E1B184B8-B315-DC4E-8395-3A7A670461AB}"/>
              </a:ext>
            </a:extLst>
          </p:cNvPr>
          <p:cNvCxnSpPr>
            <a:cxnSpLocks/>
          </p:cNvCxnSpPr>
          <p:nvPr userDrawn="1"/>
        </p:nvCxnSpPr>
        <p:spPr>
          <a:xfrm>
            <a:off x="321742" y="4292600"/>
            <a:ext cx="506903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Номер слайда 1">
            <a:extLst>
              <a:ext uri="{FF2B5EF4-FFF2-40B4-BE49-F238E27FC236}">
                <a16:creationId xmlns:a16="http://schemas.microsoft.com/office/drawing/2014/main" id="{5BA1C601-9EFD-0941-9DF2-9E28F60778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/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/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3270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bg>
      <p:bgPr>
        <a:solidFill>
          <a:srgbClr val="0045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299A0925-28C5-E43F-F531-C83457B29A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1804" y="4087211"/>
            <a:ext cx="3469146" cy="215468"/>
          </a:xfrm>
        </p:spPr>
        <p:txBody>
          <a:bodyPr lIns="0" tIns="0" rIns="0" b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GPN_DIN Condensed Regular" panose="020B0506020202020204" pitchFamily="34" charset="77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AB3415EB-5D86-E9B4-EDAC-4C3112FE15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1803" y="3093668"/>
            <a:ext cx="10920819" cy="472112"/>
          </a:xfrm>
        </p:spPr>
        <p:txBody>
          <a:bodyPr lIns="0" rIns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defRPr kumimoji="0" lang="ru-RU" sz="4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PN_DIN Condensed Bold" panose="020B0706020202020204" pitchFamily="34" charset="77"/>
                <a:ea typeface="GPN_DIN Condensed Bold" panose="020B0706020202020204" pitchFamily="34" charset="77"/>
                <a:cs typeface="+mn-cs"/>
              </a:defRPr>
            </a:lvl1pPr>
          </a:lstStyle>
          <a:p>
            <a:pPr lvl="0"/>
            <a:r>
              <a:rPr lang="ru-RU" dirty="0"/>
              <a:t>КОНТАКТЫ</a:t>
            </a:r>
          </a:p>
        </p:txBody>
      </p:sp>
      <p:cxnSp>
        <p:nvCxnSpPr>
          <p:cNvPr id="28" name="Straight Connector 14">
            <a:extLst>
              <a:ext uri="{FF2B5EF4-FFF2-40B4-BE49-F238E27FC236}">
                <a16:creationId xmlns:a16="http://schemas.microsoft.com/office/drawing/2014/main" id="{E464BC2B-2C22-6E3C-3CC4-2AD33EAE6ABE}"/>
              </a:ext>
            </a:extLst>
          </p:cNvPr>
          <p:cNvCxnSpPr>
            <a:cxnSpLocks/>
          </p:cNvCxnSpPr>
          <p:nvPr userDrawn="1"/>
        </p:nvCxnSpPr>
        <p:spPr>
          <a:xfrm>
            <a:off x="335967" y="2961043"/>
            <a:ext cx="675871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4">
            <a:extLst>
              <a:ext uri="{FF2B5EF4-FFF2-40B4-BE49-F238E27FC236}">
                <a16:creationId xmlns:a16="http://schemas.microsoft.com/office/drawing/2014/main" id="{A8E59309-6BE9-75FB-2032-994234894800}"/>
              </a:ext>
            </a:extLst>
          </p:cNvPr>
          <p:cNvCxnSpPr>
            <a:cxnSpLocks/>
          </p:cNvCxnSpPr>
          <p:nvPr userDrawn="1"/>
        </p:nvCxnSpPr>
        <p:spPr>
          <a:xfrm>
            <a:off x="335967" y="3698405"/>
            <a:ext cx="675871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4719EBA1-3353-9B43-9EF7-970D3251E4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/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/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142803A1-B126-954D-A020-ACE9B741D5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5714" y="4821334"/>
            <a:ext cx="5071470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1200" b="0" i="0" cap="none" baseline="0" dirty="0" smtClean="0">
                <a:solidFill>
                  <a:schemeClr val="bg1"/>
                </a:solidFill>
                <a:latin typeface="GPN_DIN Regular" panose="020B0704020202020204" pitchFamily="34" charset="0"/>
                <a:ea typeface="GPN_DIN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PN_DIN Regular" panose="020B0704020202020204" pitchFamily="34" charset="0"/>
                <a:ea typeface="GPN_DIN Regular" panose="020B0704020202020204" pitchFamily="34" charset="0"/>
              </a:rPr>
              <a:t>Иван Иванов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E6921CA0-786D-A348-BB57-46FC39898BA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5666" y="5332353"/>
            <a:ext cx="5071470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1200" b="0" i="0" cap="none" baseline="0" dirty="0" smtClean="0">
                <a:solidFill>
                  <a:schemeClr val="bg1"/>
                </a:solidFill>
                <a:latin typeface="GPN_DIN Regular" panose="020B0704020202020204" pitchFamily="34" charset="0"/>
                <a:ea typeface="GPN_DIN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ru-RU" sz="1200" dirty="0">
                <a:latin typeface="GPN_DIN Regular" panose="020B0704020202020204" pitchFamily="34" charset="0"/>
                <a:ea typeface="GPN_DIN Regular" panose="020B0704020202020204" pitchFamily="34" charset="0"/>
              </a:rPr>
              <a:t>Управление маркетинговых коммуникаций</a:t>
            </a:r>
            <a:endParaRPr kumimoji="0" lang="en-US" sz="12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GPN_DIN Regular" panose="020B0704020202020204" pitchFamily="34" charset="0"/>
              <a:ea typeface="GPN_DIN Regular" panose="020B0704020202020204" pitchFamily="34" charset="0"/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14FDB198-B4DB-8942-8F5C-C8E48882F43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7394" y="5594871"/>
            <a:ext cx="5071470" cy="28441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1200" b="0" i="0" cap="none" baseline="0" dirty="0" smtClean="0">
                <a:solidFill>
                  <a:schemeClr val="bg1"/>
                </a:solidFill>
                <a:latin typeface="GPN_DIN Regular" panose="020B0704020202020204" pitchFamily="34" charset="0"/>
                <a:ea typeface="GPN_DIN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en-US" sz="1200" dirty="0">
                <a:latin typeface="GPN_DIN Regular" panose="020B0704020202020204" pitchFamily="34" charset="0"/>
                <a:ea typeface="GPN_DIN Regular" panose="020B0704020202020204" pitchFamily="34" charset="0"/>
              </a:rPr>
              <a:t>XX</a:t>
            </a: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PN_DIN Regular" panose="020B0704020202020204" pitchFamily="34" charset="0"/>
                <a:ea typeface="GPN_DIN Regular" panose="020B0704020202020204" pitchFamily="34" charset="0"/>
              </a:rPr>
              <a:t>.</a:t>
            </a: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PN_DIN Regular" panose="020B0704020202020204" pitchFamily="34" charset="0"/>
                <a:ea typeface="GPN_DIN Regular" panose="020B0704020202020204" pitchFamily="34" charset="0"/>
              </a:rPr>
              <a:t>XX</a:t>
            </a: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PN_DIN Regular" panose="020B0704020202020204" pitchFamily="34" charset="0"/>
                <a:ea typeface="GPN_DIN Regular" panose="020B0704020202020204" pitchFamily="34" charset="0"/>
              </a:rPr>
              <a:t>.20</a:t>
            </a: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PN_DIN Regular" panose="020B0704020202020204" pitchFamily="34" charset="0"/>
                <a:ea typeface="GPN_DIN Regular" panose="020B0704020202020204" pitchFamily="34" charset="0"/>
              </a:rPr>
              <a:t>XX</a:t>
            </a:r>
            <a:endParaRPr kumimoji="0" lang="ru-RU" sz="12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GPN_DIN Regular" panose="020B0704020202020204" pitchFamily="34" charset="0"/>
              <a:ea typeface="GPN_DIN Regular" panose="020B0704020202020204" pitchFamily="34" charset="0"/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08A95C56-1563-2A47-A768-3A371A10533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6801" y="5062724"/>
            <a:ext cx="4610427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1200" b="0" i="0" cap="none" baseline="0" dirty="0" smtClean="0">
                <a:solidFill>
                  <a:schemeClr val="bg1"/>
                </a:solidFill>
                <a:latin typeface="GPN_DIN Regular" panose="020B0704020202020204" pitchFamily="34" charset="0"/>
                <a:ea typeface="GPN_DIN Regular" panose="020B0704020202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en-US" sz="1200" dirty="0" err="1">
                <a:latin typeface="GPN_DIN Regular" panose="020B0704020202020204" pitchFamily="34" charset="0"/>
                <a:ea typeface="GPN_DIN Regular" panose="020B0704020202020204" pitchFamily="34" charset="0"/>
              </a:rPr>
              <a:t>IVANOV.II@gazprom-neft.ru</a:t>
            </a:r>
            <a:endParaRPr lang="en-US" sz="1200" dirty="0">
              <a:latin typeface="GPN_DIN Regular" panose="020B0704020202020204" pitchFamily="34" charset="0"/>
              <a:ea typeface="GPN_DIN Regular" panose="020B0704020202020204" pitchFamily="34" charset="0"/>
            </a:endParaRPr>
          </a:p>
          <a:p>
            <a:pPr>
              <a:lnSpc>
                <a:spcPct val="100000"/>
              </a:lnSpc>
              <a:spcBef>
                <a:spcPts val="600"/>
              </a:spcBef>
              <a:defRPr/>
            </a:pPr>
            <a:endParaRPr lang="en-US" sz="1200" dirty="0">
              <a:latin typeface="GPN_DIN Regular" panose="020B0704020202020204" pitchFamily="34" charset="0"/>
              <a:ea typeface="GPN_DIN Regular" panose="020B07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72071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83CA2-8693-4AFB-B41D-3EF0B4970091}" type="datetimeFigureOut">
              <a:rPr lang="ru-RU" smtClean="0"/>
              <a:t>09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ABA8E-A86D-4D17-8897-FCA1AD88C3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8627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асибо за внимание">
    <p:bg>
      <p:bgPr>
        <a:solidFill>
          <a:srgbClr val="0045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4719EBA1-3353-9B43-9EF7-970D3251E4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/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/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Текст 3">
            <a:extLst>
              <a:ext uri="{FF2B5EF4-FFF2-40B4-BE49-F238E27FC236}">
                <a16:creationId xmlns:a16="http://schemas.microsoft.com/office/drawing/2014/main" id="{8F133F02-7ABE-5B7B-0A0E-D32314A4E2CF}"/>
              </a:ext>
            </a:extLst>
          </p:cNvPr>
          <p:cNvSpPr txBox="1">
            <a:spLocks/>
          </p:cNvSpPr>
          <p:nvPr userDrawn="1"/>
        </p:nvSpPr>
        <p:spPr>
          <a:xfrm>
            <a:off x="3400628" y="3192944"/>
            <a:ext cx="5390744" cy="472112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marR="0" indent="-2667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9263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4000" b="0" cap="none" dirty="0">
                <a:solidFill>
                  <a:schemeClr val="bg1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rPr>
              <a:t>СПАСИБО ЗА ВНИМАНИЕ</a:t>
            </a:r>
          </a:p>
        </p:txBody>
      </p:sp>
    </p:spTree>
    <p:extLst>
      <p:ext uri="{BB962C8B-B14F-4D97-AF65-F5344CB8AC3E}">
        <p14:creationId xmlns:p14="http://schemas.microsoft.com/office/powerpoint/2010/main" val="17209725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модул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66246" y="1776391"/>
            <a:ext cx="569079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66246" y="1128391"/>
            <a:ext cx="569079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2796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796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78222" y="1128713"/>
            <a:ext cx="5675404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9" name="Номер слайда 1">
            <a:extLst>
              <a:ext uri="{FF2B5EF4-FFF2-40B4-BE49-F238E27FC236}">
                <a16:creationId xmlns:a16="http://schemas.microsoft.com/office/drawing/2014/main" id="{F6C8F711-BD2D-D043-9CC3-B3AB7DB518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AC9CFC8-9240-794B-99C5-9E7F77ABB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vert="horz" wrap="square"/>
          <a:lstStyle>
            <a:lvl1pPr>
              <a:defRPr sz="2400" b="0" i="0"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3" name="Freeform: Shape 28">
            <a:extLst>
              <a:ext uri="{FF2B5EF4-FFF2-40B4-BE49-F238E27FC236}">
                <a16:creationId xmlns:a16="http://schemas.microsoft.com/office/drawing/2014/main" id="{0D375D73-F3AD-A64F-73BC-6769748C2CBC}"/>
              </a:ext>
            </a:extLst>
          </p:cNvPr>
          <p:cNvSpPr>
            <a:spLocks/>
          </p:cNvSpPr>
          <p:nvPr userDrawn="1"/>
        </p:nvSpPr>
        <p:spPr>
          <a:xfrm>
            <a:off x="334963" y="1780915"/>
            <a:ext cx="569079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reeform: Shape 96">
            <a:extLst>
              <a:ext uri="{FF2B5EF4-FFF2-40B4-BE49-F238E27FC236}">
                <a16:creationId xmlns:a16="http://schemas.microsoft.com/office/drawing/2014/main" id="{956C53BB-5E0D-3738-FFE8-82BA275E6ABC}"/>
              </a:ext>
            </a:extLst>
          </p:cNvPr>
          <p:cNvSpPr>
            <a:spLocks/>
          </p:cNvSpPr>
          <p:nvPr userDrawn="1"/>
        </p:nvSpPr>
        <p:spPr>
          <a:xfrm>
            <a:off x="334963" y="1132915"/>
            <a:ext cx="569079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6" name="Text Placeholder 58">
            <a:extLst>
              <a:ext uri="{FF2B5EF4-FFF2-40B4-BE49-F238E27FC236}">
                <a16:creationId xmlns:a16="http://schemas.microsoft.com/office/drawing/2014/main" id="{52E8EBF1-3938-95F4-619B-A9D38866364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3" y="1850193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" name="Text Placeholder 78">
            <a:extLst>
              <a:ext uri="{FF2B5EF4-FFF2-40B4-BE49-F238E27FC236}">
                <a16:creationId xmlns:a16="http://schemas.microsoft.com/office/drawing/2014/main" id="{9ECD714B-712C-D62A-18F8-3786E9E32A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3" y="2141751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9" name="Текст 4">
            <a:extLst>
              <a:ext uri="{FF2B5EF4-FFF2-40B4-BE49-F238E27FC236}">
                <a16:creationId xmlns:a16="http://schemas.microsoft.com/office/drawing/2014/main" id="{6EF8BF1E-2BA4-F553-E555-286414D49C6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6939" y="1133237"/>
            <a:ext cx="5675404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7" name="Текст 6">
            <a:extLst>
              <a:ext uri="{FF2B5EF4-FFF2-40B4-BE49-F238E27FC236}">
                <a16:creationId xmlns:a16="http://schemas.microsoft.com/office/drawing/2014/main" id="{AE8D96D1-9D7D-7D43-97A8-5E90A9CC405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18" name="Текст 12">
            <a:extLst>
              <a:ext uri="{FF2B5EF4-FFF2-40B4-BE49-F238E27FC236}">
                <a16:creationId xmlns:a16="http://schemas.microsoft.com/office/drawing/2014/main" id="{0720556C-A56D-CD43-B714-9FF254FC2C6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83675" y="283135"/>
            <a:ext cx="2862755" cy="69794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lang="ru-RU" sz="1200" b="0" i="0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lvl="0" algn="r" defTabSz="914400"/>
            <a:r>
              <a:rPr lang="ru-RU" dirty="0"/>
              <a:t>НАВИГАЦИЯ СЛАЙДА</a:t>
            </a:r>
          </a:p>
        </p:txBody>
      </p:sp>
    </p:spTree>
    <p:extLst>
      <p:ext uri="{BB962C8B-B14F-4D97-AF65-F5344CB8AC3E}">
        <p14:creationId xmlns:p14="http://schemas.microsoft.com/office/powerpoint/2010/main" val="2943921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модул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6"/>
            <a:ext cx="3576606" cy="4059025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391"/>
            <a:ext cx="3741557" cy="648022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53A80C76-031E-9047-880E-91080B966CC3}"/>
              </a:ext>
            </a:extLst>
          </p:cNvPr>
          <p:cNvSpPr>
            <a:spLocks/>
          </p:cNvSpPr>
          <p:nvPr userDrawn="1"/>
        </p:nvSpPr>
        <p:spPr>
          <a:xfrm>
            <a:off x="4222687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D7E97438-58EF-E74B-8B1D-36B4FF450FF7}"/>
              </a:ext>
            </a:extLst>
          </p:cNvPr>
          <p:cNvSpPr>
            <a:spLocks/>
          </p:cNvSpPr>
          <p:nvPr userDrawn="1"/>
        </p:nvSpPr>
        <p:spPr>
          <a:xfrm>
            <a:off x="4222687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20EC2CF5-54B9-5F42-9316-DA437D5C3FE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79236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9EBF861C-47FF-3E41-9A95-089B7F4D63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79236" y="2137227"/>
            <a:ext cx="3576606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7" name="Текст 4">
            <a:extLst>
              <a:ext uri="{FF2B5EF4-FFF2-40B4-BE49-F238E27FC236}">
                <a16:creationId xmlns:a16="http://schemas.microsoft.com/office/drawing/2014/main" id="{BE07BC8F-96C0-CC47-BCDA-AF597066A11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22451" y="1128713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3E1D6F27-CE1C-7549-8793-366470D55352}"/>
              </a:ext>
            </a:extLst>
          </p:cNvPr>
          <p:cNvSpPr>
            <a:spLocks/>
          </p:cNvSpPr>
          <p:nvPr userDrawn="1"/>
        </p:nvSpPr>
        <p:spPr>
          <a:xfrm>
            <a:off x="8113478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Freeform: Shape 96">
            <a:extLst>
              <a:ext uri="{FF2B5EF4-FFF2-40B4-BE49-F238E27FC236}">
                <a16:creationId xmlns:a16="http://schemas.microsoft.com/office/drawing/2014/main" id="{1F1B1B5B-532C-7149-8A3F-2EED530372E9}"/>
              </a:ext>
            </a:extLst>
          </p:cNvPr>
          <p:cNvSpPr>
            <a:spLocks/>
          </p:cNvSpPr>
          <p:nvPr userDrawn="1"/>
        </p:nvSpPr>
        <p:spPr>
          <a:xfrm>
            <a:off x="8113478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1" name="Text Placeholder 58">
            <a:extLst>
              <a:ext uri="{FF2B5EF4-FFF2-40B4-BE49-F238E27FC236}">
                <a16:creationId xmlns:a16="http://schemas.microsoft.com/office/drawing/2014/main" id="{EABB35E9-310F-3446-9394-9C23B6036C1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70027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Text Placeholder 78">
            <a:extLst>
              <a:ext uri="{FF2B5EF4-FFF2-40B4-BE49-F238E27FC236}">
                <a16:creationId xmlns:a16="http://schemas.microsoft.com/office/drawing/2014/main" id="{008DF7AB-FFE2-E847-A066-610EB5EA301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70027" y="2137227"/>
            <a:ext cx="3576606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035F40F3-E5FF-864C-92DD-B7E43F61C05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113242" y="1128713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4" name="Номер слайда 1">
            <a:extLst>
              <a:ext uri="{FF2B5EF4-FFF2-40B4-BE49-F238E27FC236}">
                <a16:creationId xmlns:a16="http://schemas.microsoft.com/office/drawing/2014/main" id="{719CA99E-ECDB-C044-8CF7-9516B0EA3F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Текст 6">
            <a:extLst>
              <a:ext uri="{FF2B5EF4-FFF2-40B4-BE49-F238E27FC236}">
                <a16:creationId xmlns:a16="http://schemas.microsoft.com/office/drawing/2014/main" id="{E5A9618C-1939-2C40-BA1D-DBC4DBA566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A031F491-1FB7-E643-9E82-A21D1687E8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vert="horz" wrap="square"/>
          <a:lstStyle>
            <a:lvl1pPr>
              <a:defRPr sz="2400" b="0" i="0"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36" name="Текст 12">
            <a:extLst>
              <a:ext uri="{FF2B5EF4-FFF2-40B4-BE49-F238E27FC236}">
                <a16:creationId xmlns:a16="http://schemas.microsoft.com/office/drawing/2014/main" id="{B8AC56C7-FDE9-874C-995A-2D0AAF08C0A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83675" y="283135"/>
            <a:ext cx="2862755" cy="69794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lang="ru-RU" sz="1200" b="0" i="0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lvl="0" algn="r" defTabSz="914400"/>
            <a:r>
              <a:rPr lang="ru-RU" dirty="0"/>
              <a:t>НАВИГАЦИЯ СЛАЙДА</a:t>
            </a:r>
          </a:p>
        </p:txBody>
      </p:sp>
    </p:spTree>
    <p:extLst>
      <p:ext uri="{BB962C8B-B14F-4D97-AF65-F5344CB8AC3E}">
        <p14:creationId xmlns:p14="http://schemas.microsoft.com/office/powerpoint/2010/main" val="983562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модул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8" name="Номер слайда 1">
            <a:extLst>
              <a:ext uri="{FF2B5EF4-FFF2-40B4-BE49-F238E27FC236}">
                <a16:creationId xmlns:a16="http://schemas.microsoft.com/office/drawing/2014/main" id="{1858A45B-8036-4049-BAC1-1D0EC21FF1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9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52AC95F-DAC9-6A49-B77B-BF6A27474D62}"/>
              </a:ext>
            </a:extLst>
          </p:cNvPr>
          <p:cNvSpPr>
            <a:spLocks/>
          </p:cNvSpPr>
          <p:nvPr userDrawn="1"/>
        </p:nvSpPr>
        <p:spPr>
          <a:xfrm>
            <a:off x="3255662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D717BB3F-4119-C647-A8F9-461124443804}"/>
              </a:ext>
            </a:extLst>
          </p:cNvPr>
          <p:cNvSpPr>
            <a:spLocks/>
          </p:cNvSpPr>
          <p:nvPr userDrawn="1"/>
        </p:nvSpPr>
        <p:spPr>
          <a:xfrm>
            <a:off x="3255662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0B693C74-8B6B-4948-AC45-2F71AD84463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12211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1ACE89D3-A02F-864E-9D5C-3B710BE8CFC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12211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1D1A357B-3BA7-2148-B649-C05BCA7100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55427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35" name="Freeform: Shape 28">
            <a:extLst>
              <a:ext uri="{FF2B5EF4-FFF2-40B4-BE49-F238E27FC236}">
                <a16:creationId xmlns:a16="http://schemas.microsoft.com/office/drawing/2014/main" id="{D3A2E364-6BCA-E44B-98E5-0DC833B9FD75}"/>
              </a:ext>
            </a:extLst>
          </p:cNvPr>
          <p:cNvSpPr>
            <a:spLocks/>
          </p:cNvSpPr>
          <p:nvPr userDrawn="1"/>
        </p:nvSpPr>
        <p:spPr>
          <a:xfrm>
            <a:off x="6175294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96">
            <a:extLst>
              <a:ext uri="{FF2B5EF4-FFF2-40B4-BE49-F238E27FC236}">
                <a16:creationId xmlns:a16="http://schemas.microsoft.com/office/drawing/2014/main" id="{8F3B5CC8-D38D-DC44-8F4F-6551236C620E}"/>
              </a:ext>
            </a:extLst>
          </p:cNvPr>
          <p:cNvSpPr>
            <a:spLocks/>
          </p:cNvSpPr>
          <p:nvPr userDrawn="1"/>
        </p:nvSpPr>
        <p:spPr>
          <a:xfrm>
            <a:off x="6175294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7" name="Text Placeholder 58">
            <a:extLst>
              <a:ext uri="{FF2B5EF4-FFF2-40B4-BE49-F238E27FC236}">
                <a16:creationId xmlns:a16="http://schemas.microsoft.com/office/drawing/2014/main" id="{2C7C1E23-9B38-9241-AB97-39FC2897C0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31843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A0484FCE-FD46-9C4A-85E5-46193F1C10E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31843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9" name="Текст 4">
            <a:extLst>
              <a:ext uri="{FF2B5EF4-FFF2-40B4-BE49-F238E27FC236}">
                <a16:creationId xmlns:a16="http://schemas.microsoft.com/office/drawing/2014/main" id="{F568EA2A-5425-4D40-B15F-725AD3AE9C4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75059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40" name="Freeform: Shape 28">
            <a:extLst>
              <a:ext uri="{FF2B5EF4-FFF2-40B4-BE49-F238E27FC236}">
                <a16:creationId xmlns:a16="http://schemas.microsoft.com/office/drawing/2014/main" id="{56599275-E10A-984C-B99F-070535D46F55}"/>
              </a:ext>
            </a:extLst>
          </p:cNvPr>
          <p:cNvSpPr>
            <a:spLocks/>
          </p:cNvSpPr>
          <p:nvPr userDrawn="1"/>
        </p:nvSpPr>
        <p:spPr>
          <a:xfrm>
            <a:off x="9083675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: Shape 96">
            <a:extLst>
              <a:ext uri="{FF2B5EF4-FFF2-40B4-BE49-F238E27FC236}">
                <a16:creationId xmlns:a16="http://schemas.microsoft.com/office/drawing/2014/main" id="{FF970A2F-8FD1-D442-97D0-A80734A2E639}"/>
              </a:ext>
            </a:extLst>
          </p:cNvPr>
          <p:cNvSpPr>
            <a:spLocks/>
          </p:cNvSpPr>
          <p:nvPr userDrawn="1"/>
        </p:nvSpPr>
        <p:spPr>
          <a:xfrm>
            <a:off x="9083675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42" name="Text Placeholder 58">
            <a:extLst>
              <a:ext uri="{FF2B5EF4-FFF2-40B4-BE49-F238E27FC236}">
                <a16:creationId xmlns:a16="http://schemas.microsoft.com/office/drawing/2014/main" id="{96FB4AF1-25D4-EE49-930D-9223B65E7F0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140224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1B3B720E-0BFE-0442-B4AC-4E18FB790FC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140224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4" name="Текст 4">
            <a:extLst>
              <a:ext uri="{FF2B5EF4-FFF2-40B4-BE49-F238E27FC236}">
                <a16:creationId xmlns:a16="http://schemas.microsoft.com/office/drawing/2014/main" id="{2FF0E40F-C4F8-DF4B-ADF5-D214BAC65B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83440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27" name="Текст 6">
            <a:extLst>
              <a:ext uri="{FF2B5EF4-FFF2-40B4-BE49-F238E27FC236}">
                <a16:creationId xmlns:a16="http://schemas.microsoft.com/office/drawing/2014/main" id="{C0B2B8D3-678C-B74C-8D9E-75FFA252884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448D0937-951D-DC4E-9041-DCBD05DDBA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vert="horz" wrap="square"/>
          <a:lstStyle>
            <a:lvl1pPr>
              <a:defRPr sz="2400" b="0" i="0"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34" name="Текст 12">
            <a:extLst>
              <a:ext uri="{FF2B5EF4-FFF2-40B4-BE49-F238E27FC236}">
                <a16:creationId xmlns:a16="http://schemas.microsoft.com/office/drawing/2014/main" id="{63AABC13-61E2-BF40-962A-99524572621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83675" y="283135"/>
            <a:ext cx="2862755" cy="69794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lang="ru-RU" sz="1200" b="0" i="0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lvl="0" algn="r" defTabSz="914400"/>
            <a:r>
              <a:rPr lang="ru-RU" dirty="0"/>
              <a:t>НАВИГАЦИЯ СЛАЙДА</a:t>
            </a:r>
          </a:p>
        </p:txBody>
      </p:sp>
    </p:spTree>
    <p:extLst>
      <p:ext uri="{BB962C8B-B14F-4D97-AF65-F5344CB8AC3E}">
        <p14:creationId xmlns:p14="http://schemas.microsoft.com/office/powerpoint/2010/main" val="4040486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широких модул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8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70865" y="1776391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70865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7414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7414" y="2137228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82839" y="1128713"/>
            <a:ext cx="567078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CA697198-F55C-5045-AC66-D71AC60690A9}"/>
              </a:ext>
            </a:extLst>
          </p:cNvPr>
          <p:cNvSpPr>
            <a:spLocks/>
          </p:cNvSpPr>
          <p:nvPr userDrawn="1"/>
        </p:nvSpPr>
        <p:spPr>
          <a:xfrm>
            <a:off x="334963" y="4155010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44DEAB49-60EE-0F4C-A6F7-786DF6C25C43}"/>
              </a:ext>
            </a:extLst>
          </p:cNvPr>
          <p:cNvSpPr>
            <a:spLocks/>
          </p:cNvSpPr>
          <p:nvPr userDrawn="1"/>
        </p:nvSpPr>
        <p:spPr>
          <a:xfrm>
            <a:off x="334963" y="3507010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A1196D06-E541-4242-91AA-B5D7A577EF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2" y="4224288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714417BA-77DD-0248-94E2-2F29DF9D84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2" y="4515847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7" name="Freeform: Shape 28">
            <a:extLst>
              <a:ext uri="{FF2B5EF4-FFF2-40B4-BE49-F238E27FC236}">
                <a16:creationId xmlns:a16="http://schemas.microsoft.com/office/drawing/2014/main" id="{3A57F3A5-218E-0544-B368-863B47EDB869}"/>
              </a:ext>
            </a:extLst>
          </p:cNvPr>
          <p:cNvSpPr>
            <a:spLocks/>
          </p:cNvSpPr>
          <p:nvPr userDrawn="1"/>
        </p:nvSpPr>
        <p:spPr>
          <a:xfrm>
            <a:off x="6167454" y="4155010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reeform: Shape 96">
            <a:extLst>
              <a:ext uri="{FF2B5EF4-FFF2-40B4-BE49-F238E27FC236}">
                <a16:creationId xmlns:a16="http://schemas.microsoft.com/office/drawing/2014/main" id="{FF1415D5-AAD0-5547-A412-8809EE2F255A}"/>
              </a:ext>
            </a:extLst>
          </p:cNvPr>
          <p:cNvSpPr>
            <a:spLocks/>
          </p:cNvSpPr>
          <p:nvPr userDrawn="1"/>
        </p:nvSpPr>
        <p:spPr>
          <a:xfrm>
            <a:off x="6167454" y="3507010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0" name="Text Placeholder 58">
            <a:extLst>
              <a:ext uri="{FF2B5EF4-FFF2-40B4-BE49-F238E27FC236}">
                <a16:creationId xmlns:a16="http://schemas.microsoft.com/office/drawing/2014/main" id="{5451B0E0-D598-6D49-91DF-953926CAA6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24003" y="4224288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1" name="Text Placeholder 78">
            <a:extLst>
              <a:ext uri="{FF2B5EF4-FFF2-40B4-BE49-F238E27FC236}">
                <a16:creationId xmlns:a16="http://schemas.microsoft.com/office/drawing/2014/main" id="{03FB86BF-5F1F-754A-A332-98A79B7CCB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24003" y="4515847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Текст 4">
            <a:extLst>
              <a:ext uri="{FF2B5EF4-FFF2-40B4-BE49-F238E27FC236}">
                <a16:creationId xmlns:a16="http://schemas.microsoft.com/office/drawing/2014/main" id="{823CE63C-0186-FC44-9715-E604F9B3AC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727" y="3507332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A53B46B7-564A-9642-9BDA-432C2ECE58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79428" y="3507332"/>
            <a:ext cx="567078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5" name="Номер слайда 1">
            <a:extLst>
              <a:ext uri="{FF2B5EF4-FFF2-40B4-BE49-F238E27FC236}">
                <a16:creationId xmlns:a16="http://schemas.microsoft.com/office/drawing/2014/main" id="{03B588AC-79E2-D24A-A027-2F9C06AB04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8" name="Текст 6">
            <a:extLst>
              <a:ext uri="{FF2B5EF4-FFF2-40B4-BE49-F238E27FC236}">
                <a16:creationId xmlns:a16="http://schemas.microsoft.com/office/drawing/2014/main" id="{360C0210-C64A-DC4E-B879-7D2D1C083C4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538330D-DAB0-E649-AE01-236E358347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vert="horz" wrap="square"/>
          <a:lstStyle>
            <a:lvl1pPr>
              <a:defRPr sz="2400" b="0" i="0"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40" name="Текст 12">
            <a:extLst>
              <a:ext uri="{FF2B5EF4-FFF2-40B4-BE49-F238E27FC236}">
                <a16:creationId xmlns:a16="http://schemas.microsoft.com/office/drawing/2014/main" id="{74D34415-5E77-1C4F-8AC4-CA33BF8E6A0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83675" y="283135"/>
            <a:ext cx="2862755" cy="69794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lang="ru-RU" sz="1200" b="0" i="0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lvl="0" algn="r" defTabSz="914400"/>
            <a:r>
              <a:rPr lang="ru-RU" dirty="0"/>
              <a:t>НАВИГАЦИЯ СЛАЙДА</a:t>
            </a:r>
          </a:p>
        </p:txBody>
      </p:sp>
    </p:spTree>
    <p:extLst>
      <p:ext uri="{BB962C8B-B14F-4D97-AF65-F5344CB8AC3E}">
        <p14:creationId xmlns:p14="http://schemas.microsoft.com/office/powerpoint/2010/main" val="3587464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модул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8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CA697198-F55C-5045-AC66-D71AC60690A9}"/>
              </a:ext>
            </a:extLst>
          </p:cNvPr>
          <p:cNvSpPr>
            <a:spLocks/>
          </p:cNvSpPr>
          <p:nvPr userDrawn="1"/>
        </p:nvSpPr>
        <p:spPr>
          <a:xfrm>
            <a:off x="334963" y="4155010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44DEAB49-60EE-0F4C-A6F7-786DF6C25C43}"/>
              </a:ext>
            </a:extLst>
          </p:cNvPr>
          <p:cNvSpPr>
            <a:spLocks/>
          </p:cNvSpPr>
          <p:nvPr userDrawn="1"/>
        </p:nvSpPr>
        <p:spPr>
          <a:xfrm>
            <a:off x="334963" y="3507010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A1196D06-E541-4242-91AA-B5D7A577EF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2" y="4224288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714417BA-77DD-0248-94E2-2F29DF9D84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2" y="4515847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Текст 4">
            <a:extLst>
              <a:ext uri="{FF2B5EF4-FFF2-40B4-BE49-F238E27FC236}">
                <a16:creationId xmlns:a16="http://schemas.microsoft.com/office/drawing/2014/main" id="{823CE63C-0186-FC44-9715-E604F9B3AC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727" y="3507332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5" name="Freeform: Shape 28">
            <a:extLst>
              <a:ext uri="{FF2B5EF4-FFF2-40B4-BE49-F238E27FC236}">
                <a16:creationId xmlns:a16="http://schemas.microsoft.com/office/drawing/2014/main" id="{C9CAE8AF-6816-2847-A767-21C1BFBA08E9}"/>
              </a:ext>
            </a:extLst>
          </p:cNvPr>
          <p:cNvSpPr>
            <a:spLocks/>
          </p:cNvSpPr>
          <p:nvPr userDrawn="1"/>
        </p:nvSpPr>
        <p:spPr>
          <a:xfrm>
            <a:off x="4231644" y="1776391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96">
            <a:extLst>
              <a:ext uri="{FF2B5EF4-FFF2-40B4-BE49-F238E27FC236}">
                <a16:creationId xmlns:a16="http://schemas.microsoft.com/office/drawing/2014/main" id="{5EB663EA-2334-6F4A-9A40-B0D15BB03893}"/>
              </a:ext>
            </a:extLst>
          </p:cNvPr>
          <p:cNvSpPr>
            <a:spLocks/>
          </p:cNvSpPr>
          <p:nvPr userDrawn="1"/>
        </p:nvSpPr>
        <p:spPr>
          <a:xfrm>
            <a:off x="4231644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7" name="Text Placeholder 58">
            <a:extLst>
              <a:ext uri="{FF2B5EF4-FFF2-40B4-BE49-F238E27FC236}">
                <a16:creationId xmlns:a16="http://schemas.microsoft.com/office/drawing/2014/main" id="{7AA62CC5-97C0-324A-9119-F0DBF0CFF8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8193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DC448A48-FB2C-4E40-B031-34022EC5650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8193" y="2137228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9" name="Текст 4">
            <a:extLst>
              <a:ext uri="{FF2B5EF4-FFF2-40B4-BE49-F238E27FC236}">
                <a16:creationId xmlns:a16="http://schemas.microsoft.com/office/drawing/2014/main" id="{4C88DCCE-7313-7543-A50E-53A121A2268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31408" y="1128713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40" name="Freeform: Shape 28">
            <a:extLst>
              <a:ext uri="{FF2B5EF4-FFF2-40B4-BE49-F238E27FC236}">
                <a16:creationId xmlns:a16="http://schemas.microsoft.com/office/drawing/2014/main" id="{2D9E3137-5BFF-494A-9038-30DDD56EE8AE}"/>
              </a:ext>
            </a:extLst>
          </p:cNvPr>
          <p:cNvSpPr>
            <a:spLocks/>
          </p:cNvSpPr>
          <p:nvPr userDrawn="1"/>
        </p:nvSpPr>
        <p:spPr>
          <a:xfrm>
            <a:off x="4228233" y="4155010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: Shape 96">
            <a:extLst>
              <a:ext uri="{FF2B5EF4-FFF2-40B4-BE49-F238E27FC236}">
                <a16:creationId xmlns:a16="http://schemas.microsoft.com/office/drawing/2014/main" id="{7EA797B1-F607-7343-A5AB-66FD9FDECA55}"/>
              </a:ext>
            </a:extLst>
          </p:cNvPr>
          <p:cNvSpPr>
            <a:spLocks/>
          </p:cNvSpPr>
          <p:nvPr userDrawn="1"/>
        </p:nvSpPr>
        <p:spPr>
          <a:xfrm>
            <a:off x="4228233" y="3507010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42" name="Text Placeholder 58">
            <a:extLst>
              <a:ext uri="{FF2B5EF4-FFF2-40B4-BE49-F238E27FC236}">
                <a16:creationId xmlns:a16="http://schemas.microsoft.com/office/drawing/2014/main" id="{56B67575-12CA-9E45-B308-9FE624C7B7D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782" y="4224288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456C7CB2-0C9E-124B-B54E-D2DA0725563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782" y="4515847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4" name="Текст 4">
            <a:extLst>
              <a:ext uri="{FF2B5EF4-FFF2-40B4-BE49-F238E27FC236}">
                <a16:creationId xmlns:a16="http://schemas.microsoft.com/office/drawing/2014/main" id="{D01C36E8-5153-EF4B-BD1E-A0BD5556456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27997" y="3507332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46" name="Freeform: Shape 28">
            <a:extLst>
              <a:ext uri="{FF2B5EF4-FFF2-40B4-BE49-F238E27FC236}">
                <a16:creationId xmlns:a16="http://schemas.microsoft.com/office/drawing/2014/main" id="{A67D839D-77FD-C049-9F59-9A887C6DBC70}"/>
              </a:ext>
            </a:extLst>
          </p:cNvPr>
          <p:cNvSpPr>
            <a:spLocks/>
          </p:cNvSpPr>
          <p:nvPr userDrawn="1"/>
        </p:nvSpPr>
        <p:spPr>
          <a:xfrm>
            <a:off x="8113762" y="1776391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Freeform: Shape 96">
            <a:extLst>
              <a:ext uri="{FF2B5EF4-FFF2-40B4-BE49-F238E27FC236}">
                <a16:creationId xmlns:a16="http://schemas.microsoft.com/office/drawing/2014/main" id="{FECB267F-A7F9-D244-B1FE-06F1A6FC3EFC}"/>
              </a:ext>
            </a:extLst>
          </p:cNvPr>
          <p:cNvSpPr>
            <a:spLocks/>
          </p:cNvSpPr>
          <p:nvPr userDrawn="1"/>
        </p:nvSpPr>
        <p:spPr>
          <a:xfrm>
            <a:off x="8113762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48" name="Text Placeholder 58">
            <a:extLst>
              <a:ext uri="{FF2B5EF4-FFF2-40B4-BE49-F238E27FC236}">
                <a16:creationId xmlns:a16="http://schemas.microsoft.com/office/drawing/2014/main" id="{B6583149-EEB0-0E46-9F45-C875815FF29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70311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9" name="Text Placeholder 78">
            <a:extLst>
              <a:ext uri="{FF2B5EF4-FFF2-40B4-BE49-F238E27FC236}">
                <a16:creationId xmlns:a16="http://schemas.microsoft.com/office/drawing/2014/main" id="{FA7A5E36-5243-EF42-9C91-08B91375B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170311" y="2137228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0" name="Текст 4">
            <a:extLst>
              <a:ext uri="{FF2B5EF4-FFF2-40B4-BE49-F238E27FC236}">
                <a16:creationId xmlns:a16="http://schemas.microsoft.com/office/drawing/2014/main" id="{A352D317-C2F3-FF44-B211-AA0A4447D9C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113526" y="1128713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51" name="Freeform: Shape 28">
            <a:extLst>
              <a:ext uri="{FF2B5EF4-FFF2-40B4-BE49-F238E27FC236}">
                <a16:creationId xmlns:a16="http://schemas.microsoft.com/office/drawing/2014/main" id="{92877EF4-CF2C-CC4E-A57B-3D7EB8003502}"/>
              </a:ext>
            </a:extLst>
          </p:cNvPr>
          <p:cNvSpPr>
            <a:spLocks/>
          </p:cNvSpPr>
          <p:nvPr userDrawn="1"/>
        </p:nvSpPr>
        <p:spPr>
          <a:xfrm>
            <a:off x="8110351" y="4155010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Freeform: Shape 96">
            <a:extLst>
              <a:ext uri="{FF2B5EF4-FFF2-40B4-BE49-F238E27FC236}">
                <a16:creationId xmlns:a16="http://schemas.microsoft.com/office/drawing/2014/main" id="{65E7C112-8573-3644-9617-3A2D620827BB}"/>
              </a:ext>
            </a:extLst>
          </p:cNvPr>
          <p:cNvSpPr>
            <a:spLocks/>
          </p:cNvSpPr>
          <p:nvPr userDrawn="1"/>
        </p:nvSpPr>
        <p:spPr>
          <a:xfrm>
            <a:off x="8110351" y="3507010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3" name="Text Placeholder 58">
            <a:extLst>
              <a:ext uri="{FF2B5EF4-FFF2-40B4-BE49-F238E27FC236}">
                <a16:creationId xmlns:a16="http://schemas.microsoft.com/office/drawing/2014/main" id="{71F06FFA-8EB2-2849-9D2A-0FAEC91D69B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66900" y="4224288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4" name="Text Placeholder 78">
            <a:extLst>
              <a:ext uri="{FF2B5EF4-FFF2-40B4-BE49-F238E27FC236}">
                <a16:creationId xmlns:a16="http://schemas.microsoft.com/office/drawing/2014/main" id="{6554755B-D68D-FF4D-B6A8-5AEC09FC1B6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166900" y="4515847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5" name="Текст 4">
            <a:extLst>
              <a:ext uri="{FF2B5EF4-FFF2-40B4-BE49-F238E27FC236}">
                <a16:creationId xmlns:a16="http://schemas.microsoft.com/office/drawing/2014/main" id="{518A716D-D3B4-FA4F-886F-D60B5E5A3B8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10115" y="3507332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45" name="Номер слайда 1">
            <a:extLst>
              <a:ext uri="{FF2B5EF4-FFF2-40B4-BE49-F238E27FC236}">
                <a16:creationId xmlns:a16="http://schemas.microsoft.com/office/drawing/2014/main" id="{B0FBFA99-1FE9-9E49-A0E0-2215F8E630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6" name="Текст 6">
            <a:extLst>
              <a:ext uri="{FF2B5EF4-FFF2-40B4-BE49-F238E27FC236}">
                <a16:creationId xmlns:a16="http://schemas.microsoft.com/office/drawing/2014/main" id="{B94D191E-EA2C-8443-BA76-CEA7A1FDA3E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5332A4B9-BD33-A543-A06E-A98241D23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vert="horz" wrap="square"/>
          <a:lstStyle>
            <a:lvl1pPr>
              <a:defRPr sz="2400" b="0" i="0"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62" name="Текст 12">
            <a:extLst>
              <a:ext uri="{FF2B5EF4-FFF2-40B4-BE49-F238E27FC236}">
                <a16:creationId xmlns:a16="http://schemas.microsoft.com/office/drawing/2014/main" id="{EBB7601E-3279-C147-8E1F-B2B79CA5BD7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083675" y="283135"/>
            <a:ext cx="2862755" cy="69794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lang="ru-RU" sz="1200" b="0" i="0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lvl="0" algn="r" defTabSz="914400"/>
            <a:r>
              <a:rPr lang="ru-RU" dirty="0"/>
              <a:t>НАВИГАЦИЯ СЛАЙДА</a:t>
            </a:r>
          </a:p>
        </p:txBody>
      </p:sp>
    </p:spTree>
    <p:extLst>
      <p:ext uri="{BB962C8B-B14F-4D97-AF65-F5344CB8AC3E}">
        <p14:creationId xmlns:p14="http://schemas.microsoft.com/office/powerpoint/2010/main" val="2441959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модул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9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CA697198-F55C-5045-AC66-D71AC60690A9}"/>
              </a:ext>
            </a:extLst>
          </p:cNvPr>
          <p:cNvSpPr>
            <a:spLocks/>
          </p:cNvSpPr>
          <p:nvPr userDrawn="1"/>
        </p:nvSpPr>
        <p:spPr>
          <a:xfrm>
            <a:off x="334963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44DEAB49-60EE-0F4C-A6F7-786DF6C25C43}"/>
              </a:ext>
            </a:extLst>
          </p:cNvPr>
          <p:cNvSpPr>
            <a:spLocks/>
          </p:cNvSpPr>
          <p:nvPr userDrawn="1"/>
        </p:nvSpPr>
        <p:spPr>
          <a:xfrm>
            <a:off x="334963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A1196D06-E541-4242-91AA-B5D7A577EF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2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714417BA-77DD-0248-94E2-2F29DF9D84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2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Текст 4">
            <a:extLst>
              <a:ext uri="{FF2B5EF4-FFF2-40B4-BE49-F238E27FC236}">
                <a16:creationId xmlns:a16="http://schemas.microsoft.com/office/drawing/2014/main" id="{823CE63C-0186-FC44-9715-E604F9B3AC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728" y="3507332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35" name="Freeform: Shape 28">
            <a:extLst>
              <a:ext uri="{FF2B5EF4-FFF2-40B4-BE49-F238E27FC236}">
                <a16:creationId xmlns:a16="http://schemas.microsoft.com/office/drawing/2014/main" id="{43BB9893-E2FD-EF4B-AE81-E0364D0BB911}"/>
              </a:ext>
            </a:extLst>
          </p:cNvPr>
          <p:cNvSpPr>
            <a:spLocks/>
          </p:cNvSpPr>
          <p:nvPr userDrawn="1"/>
        </p:nvSpPr>
        <p:spPr>
          <a:xfrm>
            <a:off x="3251200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96">
            <a:extLst>
              <a:ext uri="{FF2B5EF4-FFF2-40B4-BE49-F238E27FC236}">
                <a16:creationId xmlns:a16="http://schemas.microsoft.com/office/drawing/2014/main" id="{2AC4BAE7-B55B-C848-884C-CDC26C02438E}"/>
              </a:ext>
            </a:extLst>
          </p:cNvPr>
          <p:cNvSpPr>
            <a:spLocks/>
          </p:cNvSpPr>
          <p:nvPr userDrawn="1"/>
        </p:nvSpPr>
        <p:spPr>
          <a:xfrm>
            <a:off x="3251200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7" name="Text Placeholder 58">
            <a:extLst>
              <a:ext uri="{FF2B5EF4-FFF2-40B4-BE49-F238E27FC236}">
                <a16:creationId xmlns:a16="http://schemas.microsoft.com/office/drawing/2014/main" id="{24B2A2D7-C471-1247-842E-14DD7EF0FE2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307749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3FC14334-1BFC-CD4C-A2DC-A2484285738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07749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9" name="Текст 4">
            <a:extLst>
              <a:ext uri="{FF2B5EF4-FFF2-40B4-BE49-F238E27FC236}">
                <a16:creationId xmlns:a16="http://schemas.microsoft.com/office/drawing/2014/main" id="{6D2AA019-7FF8-3646-809D-6C737BE2B53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50965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40" name="Freeform: Shape 28">
            <a:extLst>
              <a:ext uri="{FF2B5EF4-FFF2-40B4-BE49-F238E27FC236}">
                <a16:creationId xmlns:a16="http://schemas.microsoft.com/office/drawing/2014/main" id="{CFF2854F-DEB1-4A4E-99B0-B9CD9500A454}"/>
              </a:ext>
            </a:extLst>
          </p:cNvPr>
          <p:cNvSpPr>
            <a:spLocks/>
          </p:cNvSpPr>
          <p:nvPr userDrawn="1"/>
        </p:nvSpPr>
        <p:spPr>
          <a:xfrm>
            <a:off x="3247789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: Shape 96">
            <a:extLst>
              <a:ext uri="{FF2B5EF4-FFF2-40B4-BE49-F238E27FC236}">
                <a16:creationId xmlns:a16="http://schemas.microsoft.com/office/drawing/2014/main" id="{D3930E9B-6016-6C4B-8CB7-9692F2221010}"/>
              </a:ext>
            </a:extLst>
          </p:cNvPr>
          <p:cNvSpPr>
            <a:spLocks/>
          </p:cNvSpPr>
          <p:nvPr userDrawn="1"/>
        </p:nvSpPr>
        <p:spPr>
          <a:xfrm>
            <a:off x="3247789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42" name="Text Placeholder 58">
            <a:extLst>
              <a:ext uri="{FF2B5EF4-FFF2-40B4-BE49-F238E27FC236}">
                <a16:creationId xmlns:a16="http://schemas.microsoft.com/office/drawing/2014/main" id="{53CCDDDF-470C-1A4C-96F1-A56AA02CFA8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304338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41480258-95BC-174F-81F6-F2FE5B2BD4F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04338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4" name="Текст 4">
            <a:extLst>
              <a:ext uri="{FF2B5EF4-FFF2-40B4-BE49-F238E27FC236}">
                <a16:creationId xmlns:a16="http://schemas.microsoft.com/office/drawing/2014/main" id="{7BCCA9F5-CF37-954C-96D1-F7187399F09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47554" y="3507332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45" name="Freeform: Shape 28">
            <a:extLst>
              <a:ext uri="{FF2B5EF4-FFF2-40B4-BE49-F238E27FC236}">
                <a16:creationId xmlns:a16="http://schemas.microsoft.com/office/drawing/2014/main" id="{87AB708E-94DF-3544-A8D2-81680317EF52}"/>
              </a:ext>
            </a:extLst>
          </p:cNvPr>
          <p:cNvSpPr>
            <a:spLocks/>
          </p:cNvSpPr>
          <p:nvPr userDrawn="1"/>
        </p:nvSpPr>
        <p:spPr>
          <a:xfrm>
            <a:off x="6174497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Freeform: Shape 96">
            <a:extLst>
              <a:ext uri="{FF2B5EF4-FFF2-40B4-BE49-F238E27FC236}">
                <a16:creationId xmlns:a16="http://schemas.microsoft.com/office/drawing/2014/main" id="{47CADB1E-0732-0E4F-B63F-250A8F6141B6}"/>
              </a:ext>
            </a:extLst>
          </p:cNvPr>
          <p:cNvSpPr>
            <a:spLocks/>
          </p:cNvSpPr>
          <p:nvPr userDrawn="1"/>
        </p:nvSpPr>
        <p:spPr>
          <a:xfrm>
            <a:off x="6174497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47" name="Text Placeholder 58">
            <a:extLst>
              <a:ext uri="{FF2B5EF4-FFF2-40B4-BE49-F238E27FC236}">
                <a16:creationId xmlns:a16="http://schemas.microsoft.com/office/drawing/2014/main" id="{6CEA455A-8EC5-8444-BC32-8DF8E3B3596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31046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8" name="Text Placeholder 78">
            <a:extLst>
              <a:ext uri="{FF2B5EF4-FFF2-40B4-BE49-F238E27FC236}">
                <a16:creationId xmlns:a16="http://schemas.microsoft.com/office/drawing/2014/main" id="{9B2B494A-E514-6D41-BAD9-9EB83C53CD6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1046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9" name="Текст 4">
            <a:extLst>
              <a:ext uri="{FF2B5EF4-FFF2-40B4-BE49-F238E27FC236}">
                <a16:creationId xmlns:a16="http://schemas.microsoft.com/office/drawing/2014/main" id="{CB01DB03-9792-634F-9228-A084ECA80D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74262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50" name="Freeform: Shape 28">
            <a:extLst>
              <a:ext uri="{FF2B5EF4-FFF2-40B4-BE49-F238E27FC236}">
                <a16:creationId xmlns:a16="http://schemas.microsoft.com/office/drawing/2014/main" id="{46750C02-11CB-6A4E-82CA-248F3A1CA805}"/>
              </a:ext>
            </a:extLst>
          </p:cNvPr>
          <p:cNvSpPr>
            <a:spLocks/>
          </p:cNvSpPr>
          <p:nvPr userDrawn="1"/>
        </p:nvSpPr>
        <p:spPr>
          <a:xfrm>
            <a:off x="6171086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Freeform: Shape 96">
            <a:extLst>
              <a:ext uri="{FF2B5EF4-FFF2-40B4-BE49-F238E27FC236}">
                <a16:creationId xmlns:a16="http://schemas.microsoft.com/office/drawing/2014/main" id="{CF9F77C3-8886-9943-9146-9AC18F587E4B}"/>
              </a:ext>
            </a:extLst>
          </p:cNvPr>
          <p:cNvSpPr>
            <a:spLocks/>
          </p:cNvSpPr>
          <p:nvPr userDrawn="1"/>
        </p:nvSpPr>
        <p:spPr>
          <a:xfrm>
            <a:off x="6171086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2" name="Text Placeholder 58">
            <a:extLst>
              <a:ext uri="{FF2B5EF4-FFF2-40B4-BE49-F238E27FC236}">
                <a16:creationId xmlns:a16="http://schemas.microsoft.com/office/drawing/2014/main" id="{A1CDC319-2D19-8D40-8065-CBEEBE092B6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27635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3" name="Text Placeholder 78">
            <a:extLst>
              <a:ext uri="{FF2B5EF4-FFF2-40B4-BE49-F238E27FC236}">
                <a16:creationId xmlns:a16="http://schemas.microsoft.com/office/drawing/2014/main" id="{FEDD205A-489A-CA44-BAC2-7D1EC8403BC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27635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4" name="Текст 4">
            <a:extLst>
              <a:ext uri="{FF2B5EF4-FFF2-40B4-BE49-F238E27FC236}">
                <a16:creationId xmlns:a16="http://schemas.microsoft.com/office/drawing/2014/main" id="{BD8070A7-7561-7F4B-8D25-1E2FEBDFD73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70851" y="3507332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55" name="Freeform: Shape 28">
            <a:extLst>
              <a:ext uri="{FF2B5EF4-FFF2-40B4-BE49-F238E27FC236}">
                <a16:creationId xmlns:a16="http://schemas.microsoft.com/office/drawing/2014/main" id="{35D6D9CC-1D49-6E4E-B2A6-6A785EC24A4E}"/>
              </a:ext>
            </a:extLst>
          </p:cNvPr>
          <p:cNvSpPr>
            <a:spLocks/>
          </p:cNvSpPr>
          <p:nvPr userDrawn="1"/>
        </p:nvSpPr>
        <p:spPr>
          <a:xfrm>
            <a:off x="9083869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Freeform: Shape 96">
            <a:extLst>
              <a:ext uri="{FF2B5EF4-FFF2-40B4-BE49-F238E27FC236}">
                <a16:creationId xmlns:a16="http://schemas.microsoft.com/office/drawing/2014/main" id="{76EA24AB-EFEB-8E42-A1E7-736C99C126FD}"/>
              </a:ext>
            </a:extLst>
          </p:cNvPr>
          <p:cNvSpPr>
            <a:spLocks/>
          </p:cNvSpPr>
          <p:nvPr userDrawn="1"/>
        </p:nvSpPr>
        <p:spPr>
          <a:xfrm>
            <a:off x="9083869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7" name="Text Placeholder 58">
            <a:extLst>
              <a:ext uri="{FF2B5EF4-FFF2-40B4-BE49-F238E27FC236}">
                <a16:creationId xmlns:a16="http://schemas.microsoft.com/office/drawing/2014/main" id="{2B4768A1-E111-1848-82B8-8CDD5CD58A5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40418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8" name="Text Placeholder 78">
            <a:extLst>
              <a:ext uri="{FF2B5EF4-FFF2-40B4-BE49-F238E27FC236}">
                <a16:creationId xmlns:a16="http://schemas.microsoft.com/office/drawing/2014/main" id="{7BAEE319-1C57-5949-8391-EE3803050DD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40418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60" name="Текст 4">
            <a:extLst>
              <a:ext uri="{FF2B5EF4-FFF2-40B4-BE49-F238E27FC236}">
                <a16:creationId xmlns:a16="http://schemas.microsoft.com/office/drawing/2014/main" id="{103769DF-2EC7-D641-AFB3-BDD799E7212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083634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61" name="Freeform: Shape 28">
            <a:extLst>
              <a:ext uri="{FF2B5EF4-FFF2-40B4-BE49-F238E27FC236}">
                <a16:creationId xmlns:a16="http://schemas.microsoft.com/office/drawing/2014/main" id="{1D6BB305-01D6-0143-A320-F6B6883EAE5E}"/>
              </a:ext>
            </a:extLst>
          </p:cNvPr>
          <p:cNvSpPr>
            <a:spLocks/>
          </p:cNvSpPr>
          <p:nvPr userDrawn="1"/>
        </p:nvSpPr>
        <p:spPr>
          <a:xfrm>
            <a:off x="9080458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Freeform: Shape 96">
            <a:extLst>
              <a:ext uri="{FF2B5EF4-FFF2-40B4-BE49-F238E27FC236}">
                <a16:creationId xmlns:a16="http://schemas.microsoft.com/office/drawing/2014/main" id="{7793457C-A9BC-5441-9EB6-82C2916DA9C1}"/>
              </a:ext>
            </a:extLst>
          </p:cNvPr>
          <p:cNvSpPr>
            <a:spLocks/>
          </p:cNvSpPr>
          <p:nvPr userDrawn="1"/>
        </p:nvSpPr>
        <p:spPr>
          <a:xfrm>
            <a:off x="9080458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63" name="Text Placeholder 58">
            <a:extLst>
              <a:ext uri="{FF2B5EF4-FFF2-40B4-BE49-F238E27FC236}">
                <a16:creationId xmlns:a16="http://schemas.microsoft.com/office/drawing/2014/main" id="{94706F80-6634-3845-B912-C5A342C4694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137007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64" name="Text Placeholder 78">
            <a:extLst>
              <a:ext uri="{FF2B5EF4-FFF2-40B4-BE49-F238E27FC236}">
                <a16:creationId xmlns:a16="http://schemas.microsoft.com/office/drawing/2014/main" id="{5EC60963-8C10-A54B-AA1C-B4EC9E68E10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37007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65" name="Текст 4">
            <a:extLst>
              <a:ext uri="{FF2B5EF4-FFF2-40B4-BE49-F238E27FC236}">
                <a16:creationId xmlns:a16="http://schemas.microsoft.com/office/drawing/2014/main" id="{E36221E4-E58B-DE4C-B48A-A43AE30EA6B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080223" y="3507332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66" name="Номер слайда 1">
            <a:extLst>
              <a:ext uri="{FF2B5EF4-FFF2-40B4-BE49-F238E27FC236}">
                <a16:creationId xmlns:a16="http://schemas.microsoft.com/office/drawing/2014/main" id="{E89BEC67-F530-434A-BC05-E13301D648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7" name="Текст 6">
            <a:extLst>
              <a:ext uri="{FF2B5EF4-FFF2-40B4-BE49-F238E27FC236}">
                <a16:creationId xmlns:a16="http://schemas.microsoft.com/office/drawing/2014/main" id="{7AF9D069-81BF-B248-9451-AFCD1FD94CF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69" name="Title 1">
            <a:extLst>
              <a:ext uri="{FF2B5EF4-FFF2-40B4-BE49-F238E27FC236}">
                <a16:creationId xmlns:a16="http://schemas.microsoft.com/office/drawing/2014/main" id="{57BE73F8-C076-8B4D-AA40-38451CDCE8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vert="horz" wrap="square"/>
          <a:lstStyle>
            <a:lvl1pPr>
              <a:defRPr sz="2400" b="0" i="0"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70" name="Текст 12">
            <a:extLst>
              <a:ext uri="{FF2B5EF4-FFF2-40B4-BE49-F238E27FC236}">
                <a16:creationId xmlns:a16="http://schemas.microsoft.com/office/drawing/2014/main" id="{58F74FE8-68A2-AB4F-82EC-7CAF74237129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083675" y="283135"/>
            <a:ext cx="2862755" cy="69794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lang="ru-RU" sz="1200" b="0" i="0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lvl="0" algn="r" defTabSz="914400"/>
            <a:r>
              <a:rPr lang="ru-RU" dirty="0"/>
              <a:t>НАВИГАЦИЯ СЛАЙДА</a:t>
            </a:r>
          </a:p>
        </p:txBody>
      </p:sp>
    </p:spTree>
    <p:extLst>
      <p:ext uri="{BB962C8B-B14F-4D97-AF65-F5344CB8AC3E}">
        <p14:creationId xmlns:p14="http://schemas.microsoft.com/office/powerpoint/2010/main" val="2378218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модуля и выво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5684752" cy="126846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5434214" cy="78508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70865" y="1776391"/>
            <a:ext cx="5684752" cy="126846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70865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7414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7414" y="2137227"/>
            <a:ext cx="5434214" cy="78508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82839" y="1128713"/>
            <a:ext cx="567078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45" name="Freeform: Shape 28">
            <a:extLst>
              <a:ext uri="{FF2B5EF4-FFF2-40B4-BE49-F238E27FC236}">
                <a16:creationId xmlns:a16="http://schemas.microsoft.com/office/drawing/2014/main" id="{F8F3C1E1-FA35-D243-A1E9-89CAD32AB8A6}"/>
              </a:ext>
            </a:extLst>
          </p:cNvPr>
          <p:cNvSpPr>
            <a:spLocks/>
          </p:cNvSpPr>
          <p:nvPr userDrawn="1"/>
        </p:nvSpPr>
        <p:spPr>
          <a:xfrm>
            <a:off x="338374" y="3840863"/>
            <a:ext cx="5684752" cy="126846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Freeform: Shape 96">
            <a:extLst>
              <a:ext uri="{FF2B5EF4-FFF2-40B4-BE49-F238E27FC236}">
                <a16:creationId xmlns:a16="http://schemas.microsoft.com/office/drawing/2014/main" id="{B0BE7277-6F7A-9049-B50B-478CC7797844}"/>
              </a:ext>
            </a:extLst>
          </p:cNvPr>
          <p:cNvSpPr>
            <a:spLocks/>
          </p:cNvSpPr>
          <p:nvPr userDrawn="1"/>
        </p:nvSpPr>
        <p:spPr>
          <a:xfrm>
            <a:off x="338374" y="3192863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47" name="Text Placeholder 58">
            <a:extLst>
              <a:ext uri="{FF2B5EF4-FFF2-40B4-BE49-F238E27FC236}">
                <a16:creationId xmlns:a16="http://schemas.microsoft.com/office/drawing/2014/main" id="{BDDD7381-9A0D-E84D-A183-ECEA473B6A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4923" y="3910141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8" name="Text Placeholder 78">
            <a:extLst>
              <a:ext uri="{FF2B5EF4-FFF2-40B4-BE49-F238E27FC236}">
                <a16:creationId xmlns:a16="http://schemas.microsoft.com/office/drawing/2014/main" id="{BF39538D-248B-D246-B305-C44DAE75CC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4923" y="4201699"/>
            <a:ext cx="5434214" cy="78508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9" name="Freeform: Shape 28">
            <a:extLst>
              <a:ext uri="{FF2B5EF4-FFF2-40B4-BE49-F238E27FC236}">
                <a16:creationId xmlns:a16="http://schemas.microsoft.com/office/drawing/2014/main" id="{5D61F28D-BFB4-994C-946D-6E2108D1AC3F}"/>
              </a:ext>
            </a:extLst>
          </p:cNvPr>
          <p:cNvSpPr>
            <a:spLocks/>
          </p:cNvSpPr>
          <p:nvPr userDrawn="1"/>
        </p:nvSpPr>
        <p:spPr>
          <a:xfrm>
            <a:off x="6170865" y="3840863"/>
            <a:ext cx="5684752" cy="126846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Freeform: Shape 96">
            <a:extLst>
              <a:ext uri="{FF2B5EF4-FFF2-40B4-BE49-F238E27FC236}">
                <a16:creationId xmlns:a16="http://schemas.microsoft.com/office/drawing/2014/main" id="{46E72C79-C0D2-A54D-9CA2-0BEDBDA79B6A}"/>
              </a:ext>
            </a:extLst>
          </p:cNvPr>
          <p:cNvSpPr>
            <a:spLocks/>
          </p:cNvSpPr>
          <p:nvPr userDrawn="1"/>
        </p:nvSpPr>
        <p:spPr>
          <a:xfrm>
            <a:off x="6170865" y="3192863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1" name="Text Placeholder 58">
            <a:extLst>
              <a:ext uri="{FF2B5EF4-FFF2-40B4-BE49-F238E27FC236}">
                <a16:creationId xmlns:a16="http://schemas.microsoft.com/office/drawing/2014/main" id="{2F63CBA4-BA4F-DB48-A586-35DD55E1F9A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27414" y="3910141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2" name="Text Placeholder 78">
            <a:extLst>
              <a:ext uri="{FF2B5EF4-FFF2-40B4-BE49-F238E27FC236}">
                <a16:creationId xmlns:a16="http://schemas.microsoft.com/office/drawing/2014/main" id="{2DEA4E7E-77D5-F147-8DB8-D6EB81B7131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27414" y="4201699"/>
            <a:ext cx="5434214" cy="78508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3" name="Текст 4">
            <a:extLst>
              <a:ext uri="{FF2B5EF4-FFF2-40B4-BE49-F238E27FC236}">
                <a16:creationId xmlns:a16="http://schemas.microsoft.com/office/drawing/2014/main" id="{2006AEB6-E223-0647-825C-CF95A6944C0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8138" y="3193185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54" name="Текст 4">
            <a:extLst>
              <a:ext uri="{FF2B5EF4-FFF2-40B4-BE49-F238E27FC236}">
                <a16:creationId xmlns:a16="http://schemas.microsoft.com/office/drawing/2014/main" id="{CCEF5549-BBA3-FB42-9317-AE6CAF83FE0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2839" y="3193185"/>
            <a:ext cx="567078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55" name="Freeform: Shape 96">
            <a:extLst>
              <a:ext uri="{FF2B5EF4-FFF2-40B4-BE49-F238E27FC236}">
                <a16:creationId xmlns:a16="http://schemas.microsoft.com/office/drawing/2014/main" id="{6D1BDDBF-E205-174D-BE8F-37C7717AD954}"/>
              </a:ext>
            </a:extLst>
          </p:cNvPr>
          <p:cNvSpPr>
            <a:spLocks/>
          </p:cNvSpPr>
          <p:nvPr userDrawn="1"/>
        </p:nvSpPr>
        <p:spPr>
          <a:xfrm>
            <a:off x="339810" y="5248169"/>
            <a:ext cx="11517227" cy="952756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36F0CEB1-1735-8A4C-B7DB-DD29CEC38DA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4963" y="5248019"/>
            <a:ext cx="11522075" cy="952756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400" kern="1200" dirty="0">
                <a:solidFill>
                  <a:schemeClr val="bg1"/>
                </a:solidFill>
                <a:latin typeface="GPN_DIN Condensed Bold" panose="020B0504020202020204" pitchFamily="34" charset="0"/>
                <a:ea typeface="GPN_DIN Condensed Bold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9" name="Номер слайда 1">
            <a:extLst>
              <a:ext uri="{FF2B5EF4-FFF2-40B4-BE49-F238E27FC236}">
                <a16:creationId xmlns:a16="http://schemas.microsoft.com/office/drawing/2014/main" id="{16C54CEF-CC5D-CC47-9E01-CD83160967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8" name="Текст 6">
            <a:extLst>
              <a:ext uri="{FF2B5EF4-FFF2-40B4-BE49-F238E27FC236}">
                <a16:creationId xmlns:a16="http://schemas.microsoft.com/office/drawing/2014/main" id="{04503DB6-08A8-A745-BB3F-422A798FC8F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63562458-9E56-DC4D-B43E-91E15B8EE6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vert="horz" wrap="square"/>
          <a:lstStyle>
            <a:lvl1pPr>
              <a:defRPr sz="2400" b="0" i="0"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32" name="Текст 12">
            <a:extLst>
              <a:ext uri="{FF2B5EF4-FFF2-40B4-BE49-F238E27FC236}">
                <a16:creationId xmlns:a16="http://schemas.microsoft.com/office/drawing/2014/main" id="{13877647-F5C0-4B4E-9460-1FED9ED51DC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83675" y="283135"/>
            <a:ext cx="2862755" cy="69794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lang="ru-RU" sz="1200" b="0" i="0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lvl="0" algn="r" defTabSz="914400"/>
            <a:r>
              <a:rPr lang="ru-RU" dirty="0"/>
              <a:t>НАВИГАЦИЯ СЛАЙДА</a:t>
            </a:r>
          </a:p>
        </p:txBody>
      </p:sp>
    </p:spTree>
    <p:extLst>
      <p:ext uri="{BB962C8B-B14F-4D97-AF65-F5344CB8AC3E}">
        <p14:creationId xmlns:p14="http://schemas.microsoft.com/office/powerpoint/2010/main" val="1224629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дуль и конт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5684752" cy="395765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13" name="Текст 4">
            <a:extLst>
              <a:ext uri="{FF2B5EF4-FFF2-40B4-BE49-F238E27FC236}">
                <a16:creationId xmlns:a16="http://schemas.microsoft.com/office/drawing/2014/main" id="{2C6A2AF9-A586-C74F-BA43-9C8AC83557A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2" name="Номер слайда 1">
            <a:extLst>
              <a:ext uri="{FF2B5EF4-FFF2-40B4-BE49-F238E27FC236}">
                <a16:creationId xmlns:a16="http://schemas.microsoft.com/office/drawing/2014/main" id="{46C8F84C-9B74-6F45-9D3C-EBB304B128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797E686-2CE7-984F-8E48-B6020FAF30A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167536" y="1128391"/>
            <a:ext cx="5629026" cy="45902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6">
            <a:extLst>
              <a:ext uri="{FF2B5EF4-FFF2-40B4-BE49-F238E27FC236}">
                <a16:creationId xmlns:a16="http://schemas.microsoft.com/office/drawing/2014/main" id="{029A3B70-E495-0947-BC00-CFD2EF54A26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2A4A7A4-ADA3-4041-A8DF-914D1ABC34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vert="horz" wrap="square"/>
          <a:lstStyle>
            <a:lvl1pPr>
              <a:defRPr sz="2400" b="0" i="0"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9" name="Текст 12">
            <a:extLst>
              <a:ext uri="{FF2B5EF4-FFF2-40B4-BE49-F238E27FC236}">
                <a16:creationId xmlns:a16="http://schemas.microsoft.com/office/drawing/2014/main" id="{602B501B-1BF8-3B46-ACAC-C29D8A98267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83675" y="283135"/>
            <a:ext cx="2862755" cy="69794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lang="ru-RU" sz="1200" b="0" i="0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lvl="0" algn="r" defTabSz="914400"/>
            <a:r>
              <a:rPr lang="ru-RU" dirty="0"/>
              <a:t>НАВИГАЦИЯ СЛАЙДА</a:t>
            </a:r>
          </a:p>
        </p:txBody>
      </p:sp>
    </p:spTree>
    <p:extLst>
      <p:ext uri="{BB962C8B-B14F-4D97-AF65-F5344CB8AC3E}">
        <p14:creationId xmlns:p14="http://schemas.microsoft.com/office/powerpoint/2010/main" val="1527667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дуль и 2 вертикальных контен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: Shape 28">
            <a:extLst>
              <a:ext uri="{FF2B5EF4-FFF2-40B4-BE49-F238E27FC236}">
                <a16:creationId xmlns:a16="http://schemas.microsoft.com/office/drawing/2014/main" id="{59DD6344-6ACF-A045-90F1-C76DE6BA2943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3741501" cy="395765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: Shape 96">
            <a:extLst>
              <a:ext uri="{FF2B5EF4-FFF2-40B4-BE49-F238E27FC236}">
                <a16:creationId xmlns:a16="http://schemas.microsoft.com/office/drawing/2014/main" id="{9E4C265C-0ABB-5D44-8F85-BF95D737C2DF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14" name="Text Placeholder 58">
            <a:extLst>
              <a:ext uri="{FF2B5EF4-FFF2-40B4-BE49-F238E27FC236}">
                <a16:creationId xmlns:a16="http://schemas.microsoft.com/office/drawing/2014/main" id="{FBD63E05-E395-0440-B3B2-D5C6BA7420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15" name="Text Placeholder 78">
            <a:extLst>
              <a:ext uri="{FF2B5EF4-FFF2-40B4-BE49-F238E27FC236}">
                <a16:creationId xmlns:a16="http://schemas.microsoft.com/office/drawing/2014/main" id="{D3F7E849-5FD3-C44F-9287-1D5BB7BD6A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3576606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2DA29E93-71D6-C74C-A54E-9AC9312934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9" y="1128713"/>
            <a:ext cx="3736502" cy="647678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DD6B9303-A0C8-0D46-BCA9-C3F994388B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9" name="Объект 3">
            <a:extLst>
              <a:ext uri="{FF2B5EF4-FFF2-40B4-BE49-F238E27FC236}">
                <a16:creationId xmlns:a16="http://schemas.microsoft.com/office/drawing/2014/main" id="{465C999D-4AFA-3844-9C52-9E2DED4A2921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229573" y="1128391"/>
            <a:ext cx="3736266" cy="45902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Объект 3">
            <a:extLst>
              <a:ext uri="{FF2B5EF4-FFF2-40B4-BE49-F238E27FC236}">
                <a16:creationId xmlns:a16="http://schemas.microsoft.com/office/drawing/2014/main" id="{0DA6D390-E8CA-8040-9481-7874D278B8E3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8118154" y="1128391"/>
            <a:ext cx="3736266" cy="45902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Текст 6">
            <a:extLst>
              <a:ext uri="{FF2B5EF4-FFF2-40B4-BE49-F238E27FC236}">
                <a16:creationId xmlns:a16="http://schemas.microsoft.com/office/drawing/2014/main" id="{BEC87124-8358-AF4F-AA7A-B77AAB49D76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AB70F72-EA1F-5C40-BB84-DD3DA2E7D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vert="horz" wrap="square"/>
          <a:lstStyle>
            <a:lvl1pPr>
              <a:defRPr sz="2400" b="0" i="0"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4" name="Текст 12">
            <a:extLst>
              <a:ext uri="{FF2B5EF4-FFF2-40B4-BE49-F238E27FC236}">
                <a16:creationId xmlns:a16="http://schemas.microsoft.com/office/drawing/2014/main" id="{E05CD9B6-AA70-184B-ADA4-E28764042F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83675" y="283135"/>
            <a:ext cx="2862755" cy="69794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lang="ru-RU" sz="1200" b="0" i="0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lvl="0" algn="r" defTabSz="914400"/>
            <a:r>
              <a:rPr lang="ru-RU" dirty="0"/>
              <a:t>НАВИГАЦИЯ СЛАЙДА</a:t>
            </a:r>
          </a:p>
        </p:txBody>
      </p:sp>
    </p:spTree>
    <p:extLst>
      <p:ext uri="{BB962C8B-B14F-4D97-AF65-F5344CB8AC3E}">
        <p14:creationId xmlns:p14="http://schemas.microsoft.com/office/powerpoint/2010/main" val="1206780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83CA2-8693-4AFB-B41D-3EF0B4970091}" type="datetimeFigureOut">
              <a:rPr lang="ru-RU" smtClean="0"/>
              <a:t>09.04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ABA8E-A86D-4D17-8897-FCA1AD88C3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0040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дуль и 2 горизонтальных контен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: Shape 28">
            <a:extLst>
              <a:ext uri="{FF2B5EF4-FFF2-40B4-BE49-F238E27FC236}">
                <a16:creationId xmlns:a16="http://schemas.microsoft.com/office/drawing/2014/main" id="{59DD6344-6ACF-A045-90F1-C76DE6BA2943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4713051" cy="395765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: Shape 96">
            <a:extLst>
              <a:ext uri="{FF2B5EF4-FFF2-40B4-BE49-F238E27FC236}">
                <a16:creationId xmlns:a16="http://schemas.microsoft.com/office/drawing/2014/main" id="{9E4C265C-0ABB-5D44-8F85-BF95D737C2DF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47130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14" name="Text Placeholder 58">
            <a:extLst>
              <a:ext uri="{FF2B5EF4-FFF2-40B4-BE49-F238E27FC236}">
                <a16:creationId xmlns:a16="http://schemas.microsoft.com/office/drawing/2014/main" id="{FBD63E05-E395-0440-B3B2-D5C6BA7420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4505338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15" name="Text Placeholder 78">
            <a:extLst>
              <a:ext uri="{FF2B5EF4-FFF2-40B4-BE49-F238E27FC236}">
                <a16:creationId xmlns:a16="http://schemas.microsoft.com/office/drawing/2014/main" id="{D3F7E849-5FD3-C44F-9287-1D5BB7BD6A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4505338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2DA29E93-71D6-C74C-A54E-9AC9312934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9" y="1128713"/>
            <a:ext cx="4706754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Объект 3">
            <a:extLst>
              <a:ext uri="{FF2B5EF4-FFF2-40B4-BE49-F238E27FC236}">
                <a16:creationId xmlns:a16="http://schemas.microsoft.com/office/drawing/2014/main" id="{866500AB-A0F6-A743-AF3C-C6F9919D45CA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195888" y="1133852"/>
            <a:ext cx="6661150" cy="2223711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Объект 3">
            <a:extLst>
              <a:ext uri="{FF2B5EF4-FFF2-40B4-BE49-F238E27FC236}">
                <a16:creationId xmlns:a16="http://schemas.microsoft.com/office/drawing/2014/main" id="{56460F5E-AA25-8942-A990-347E7B0443D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195888" y="3500437"/>
            <a:ext cx="6661150" cy="223361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Номер слайда 1">
            <a:extLst>
              <a:ext uri="{FF2B5EF4-FFF2-40B4-BE49-F238E27FC236}">
                <a16:creationId xmlns:a16="http://schemas.microsoft.com/office/drawing/2014/main" id="{82C32EEB-197E-FE46-AC73-4E98D5757F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Текст 6">
            <a:extLst>
              <a:ext uri="{FF2B5EF4-FFF2-40B4-BE49-F238E27FC236}">
                <a16:creationId xmlns:a16="http://schemas.microsoft.com/office/drawing/2014/main" id="{AAC1BA71-1C3F-734A-B2A4-AA1876FF82B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F0EA560A-F174-CC45-B425-F3B4D80F93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vert="horz" wrap="square"/>
          <a:lstStyle>
            <a:lvl1pPr>
              <a:defRPr sz="2400" b="0" i="0"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4" name="Текст 12">
            <a:extLst>
              <a:ext uri="{FF2B5EF4-FFF2-40B4-BE49-F238E27FC236}">
                <a16:creationId xmlns:a16="http://schemas.microsoft.com/office/drawing/2014/main" id="{0A11EBE4-9964-0A45-8038-7C96E024C76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83675" y="283135"/>
            <a:ext cx="2862755" cy="69794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lang="ru-RU" sz="1200" b="0" i="0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lvl="0" algn="r" defTabSz="914400"/>
            <a:r>
              <a:rPr lang="ru-RU" dirty="0"/>
              <a:t>НАВИГАЦИЯ СЛАЙДА</a:t>
            </a:r>
          </a:p>
        </p:txBody>
      </p:sp>
    </p:spTree>
    <p:extLst>
      <p:ext uri="{BB962C8B-B14F-4D97-AF65-F5344CB8AC3E}">
        <p14:creationId xmlns:p14="http://schemas.microsoft.com/office/powerpoint/2010/main" val="41543304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2 стро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A6F47029-190B-0E44-9895-C7AA453D0459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5684752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F3836674-FA52-C447-B8E9-E78FE2CA72B2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9A53F451-3201-9B48-AA60-C504285DE8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6EAA0087-AD20-7043-8FBD-CE3AD72041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7" name="Freeform: Shape 28">
            <a:extLst>
              <a:ext uri="{FF2B5EF4-FFF2-40B4-BE49-F238E27FC236}">
                <a16:creationId xmlns:a16="http://schemas.microsoft.com/office/drawing/2014/main" id="{61BE4B1F-1B42-4647-B656-485F2E837759}"/>
              </a:ext>
            </a:extLst>
          </p:cNvPr>
          <p:cNvSpPr>
            <a:spLocks/>
          </p:cNvSpPr>
          <p:nvPr userDrawn="1"/>
        </p:nvSpPr>
        <p:spPr>
          <a:xfrm>
            <a:off x="6166247" y="1776391"/>
            <a:ext cx="5684752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reeform: Shape 96">
            <a:extLst>
              <a:ext uri="{FF2B5EF4-FFF2-40B4-BE49-F238E27FC236}">
                <a16:creationId xmlns:a16="http://schemas.microsoft.com/office/drawing/2014/main" id="{1B18B201-920B-C74B-A05A-A06C01149D4C}"/>
              </a:ext>
            </a:extLst>
          </p:cNvPr>
          <p:cNvSpPr>
            <a:spLocks/>
          </p:cNvSpPr>
          <p:nvPr userDrawn="1"/>
        </p:nvSpPr>
        <p:spPr>
          <a:xfrm>
            <a:off x="6166247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0" name="Text Placeholder 58">
            <a:extLst>
              <a:ext uri="{FF2B5EF4-FFF2-40B4-BE49-F238E27FC236}">
                <a16:creationId xmlns:a16="http://schemas.microsoft.com/office/drawing/2014/main" id="{3D636A2C-2D42-4941-B5D3-8A3AC10B06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2796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1" name="Text Placeholder 78">
            <a:extLst>
              <a:ext uri="{FF2B5EF4-FFF2-40B4-BE49-F238E27FC236}">
                <a16:creationId xmlns:a16="http://schemas.microsoft.com/office/drawing/2014/main" id="{5AB90643-34B7-DD42-9F0C-2C3EC9BC62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796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13025B2C-DB58-4D42-98CF-569FF3622CC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78221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41B42E27-69D5-BB48-A582-6AEEA21B4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B26F2286-8073-CD44-BF80-126101C7E5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Текст 6">
            <a:extLst>
              <a:ext uri="{FF2B5EF4-FFF2-40B4-BE49-F238E27FC236}">
                <a16:creationId xmlns:a16="http://schemas.microsoft.com/office/drawing/2014/main" id="{113F25C1-99A7-B84A-9665-8C6298A36B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BF9EFB3D-7809-B440-B757-640D7FCB55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vert="horz" wrap="square"/>
          <a:lstStyle>
            <a:lvl1pPr>
              <a:defRPr sz="2400" b="0" i="0"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  <p:sp>
        <p:nvSpPr>
          <p:cNvPr id="26" name="Текст 12">
            <a:extLst>
              <a:ext uri="{FF2B5EF4-FFF2-40B4-BE49-F238E27FC236}">
                <a16:creationId xmlns:a16="http://schemas.microsoft.com/office/drawing/2014/main" id="{2E061D0A-DB6D-E640-AC0B-478219C9BC6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83675" y="283135"/>
            <a:ext cx="2862755" cy="69794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lang="ru-RU" sz="1200" b="0" i="0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lvl="0" algn="r" defTabSz="914400"/>
            <a:r>
              <a:rPr lang="ru-RU" dirty="0"/>
              <a:t>НАВИГАЦИЯ СЛАЙДА</a:t>
            </a:r>
          </a:p>
        </p:txBody>
      </p:sp>
    </p:spTree>
    <p:extLst>
      <p:ext uri="{BB962C8B-B14F-4D97-AF65-F5344CB8AC3E}">
        <p14:creationId xmlns:p14="http://schemas.microsoft.com/office/powerpoint/2010/main" val="298853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3 стро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2100426"/>
            <a:ext cx="5684752" cy="410034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452426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2169704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461261"/>
            <a:ext cx="5434214" cy="360049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66247" y="2100426"/>
            <a:ext cx="5684752" cy="410034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66247" y="1452426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2796" y="2169704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796" y="2461261"/>
            <a:ext cx="5434214" cy="360049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78221" y="1452748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9" name="Текст 4">
            <a:extLst>
              <a:ext uri="{FF2B5EF4-FFF2-40B4-BE49-F238E27FC236}">
                <a16:creationId xmlns:a16="http://schemas.microsoft.com/office/drawing/2014/main" id="{AA5999C9-AAAA-4347-BF28-03EA6C06495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459905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Номер слайда 1">
            <a:extLst>
              <a:ext uri="{FF2B5EF4-FFF2-40B4-BE49-F238E27FC236}">
                <a16:creationId xmlns:a16="http://schemas.microsoft.com/office/drawing/2014/main" id="{B8545EAC-DDDE-D44B-AD9A-8EF1B3A072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Текст 6">
            <a:extLst>
              <a:ext uri="{FF2B5EF4-FFF2-40B4-BE49-F238E27FC236}">
                <a16:creationId xmlns:a16="http://schemas.microsoft.com/office/drawing/2014/main" id="{109E735A-4A2F-C848-8CF7-7DF5387239D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B37EEBE7-6E28-CA42-B09B-CDAFA39F5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1151812"/>
          </a:xfrm>
        </p:spPr>
        <p:txBody>
          <a:bodyPr vert="horz" wrap="square"/>
          <a:lstStyle>
            <a:lvl1pPr>
              <a:defRPr sz="2400" b="0" i="0"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СЛАЙДА</a:t>
            </a:r>
            <a:br>
              <a:rPr lang="ru-RU" dirty="0"/>
            </a:br>
            <a:r>
              <a:rPr lang="ru-RU" dirty="0"/>
              <a:t>в 3 строки</a:t>
            </a:r>
          </a:p>
        </p:txBody>
      </p:sp>
      <p:sp>
        <p:nvSpPr>
          <p:cNvPr id="28" name="Текст 12">
            <a:extLst>
              <a:ext uri="{FF2B5EF4-FFF2-40B4-BE49-F238E27FC236}">
                <a16:creationId xmlns:a16="http://schemas.microsoft.com/office/drawing/2014/main" id="{844D61CA-EA69-5C48-87E2-D53D4267BEB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83675" y="283135"/>
            <a:ext cx="2862755" cy="69794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lang="ru-RU" sz="1200" b="0" i="0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lvl="0" algn="r" defTabSz="914400"/>
            <a:r>
              <a:rPr lang="ru-RU" dirty="0"/>
              <a:t>НАВИГАЦИЯ СЛАЙДА</a:t>
            </a:r>
          </a:p>
        </p:txBody>
      </p:sp>
    </p:spTree>
    <p:extLst>
      <p:ext uri="{BB962C8B-B14F-4D97-AF65-F5344CB8AC3E}">
        <p14:creationId xmlns:p14="http://schemas.microsoft.com/office/powerpoint/2010/main" val="32650458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+дескрипто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A6F47029-190B-0E44-9895-C7AA453D0459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5684752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F3836674-FA52-C447-B8E9-E78FE2CA72B2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9A53F451-3201-9B48-AA60-C504285DE8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6EAA0087-AD20-7043-8FBD-CE3AD72041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7" name="Freeform: Shape 28">
            <a:extLst>
              <a:ext uri="{FF2B5EF4-FFF2-40B4-BE49-F238E27FC236}">
                <a16:creationId xmlns:a16="http://schemas.microsoft.com/office/drawing/2014/main" id="{61BE4B1F-1B42-4647-B656-485F2E837759}"/>
              </a:ext>
            </a:extLst>
          </p:cNvPr>
          <p:cNvSpPr>
            <a:spLocks/>
          </p:cNvSpPr>
          <p:nvPr userDrawn="1"/>
        </p:nvSpPr>
        <p:spPr>
          <a:xfrm>
            <a:off x="6166247" y="1776391"/>
            <a:ext cx="5684752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reeform: Shape 96">
            <a:extLst>
              <a:ext uri="{FF2B5EF4-FFF2-40B4-BE49-F238E27FC236}">
                <a16:creationId xmlns:a16="http://schemas.microsoft.com/office/drawing/2014/main" id="{1B18B201-920B-C74B-A05A-A06C01149D4C}"/>
              </a:ext>
            </a:extLst>
          </p:cNvPr>
          <p:cNvSpPr>
            <a:spLocks/>
          </p:cNvSpPr>
          <p:nvPr userDrawn="1"/>
        </p:nvSpPr>
        <p:spPr>
          <a:xfrm>
            <a:off x="6166247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0" name="Text Placeholder 58">
            <a:extLst>
              <a:ext uri="{FF2B5EF4-FFF2-40B4-BE49-F238E27FC236}">
                <a16:creationId xmlns:a16="http://schemas.microsoft.com/office/drawing/2014/main" id="{3D636A2C-2D42-4941-B5D3-8A3AC10B06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2796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1" name="Text Placeholder 78">
            <a:extLst>
              <a:ext uri="{FF2B5EF4-FFF2-40B4-BE49-F238E27FC236}">
                <a16:creationId xmlns:a16="http://schemas.microsoft.com/office/drawing/2014/main" id="{5AB90643-34B7-DD42-9F0C-2C3EC9BC62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796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13025B2C-DB58-4D42-98CF-569FF3622CC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78221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B2772563-E9A3-9245-859D-292464BA50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0854" y="726981"/>
            <a:ext cx="8599946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ru-RU" sz="2000" b="0" i="0" dirty="0" smtClean="0">
                <a:solidFill>
                  <a:srgbClr val="8A8A8A"/>
                </a:solidFill>
                <a:latin typeface="+mj-lt"/>
                <a:ea typeface="GPN_DIN Condensed Regular" panose="020B0506020202020204" pitchFamily="34" charset="-52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dirty="0"/>
              <a:t>ДЕСКРИПТОР СЛАЙДА</a:t>
            </a:r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05DE1B7A-46E9-A649-89EB-0F3C279E5C2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65488613-2403-364E-87E2-B90FBBE57E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Текст 6">
            <a:extLst>
              <a:ext uri="{FF2B5EF4-FFF2-40B4-BE49-F238E27FC236}">
                <a16:creationId xmlns:a16="http://schemas.microsoft.com/office/drawing/2014/main" id="{D9FBDD6E-FA50-E54B-80FF-4C29200A8B0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620F868B-37E1-994F-88A8-77EE9301EC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371468"/>
          </a:xfrm>
        </p:spPr>
        <p:txBody>
          <a:bodyPr vert="horz" wrap="square"/>
          <a:lstStyle>
            <a:lvl1pPr>
              <a:defRPr sz="2400" b="0" i="0"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6" name="Текст 12">
            <a:extLst>
              <a:ext uri="{FF2B5EF4-FFF2-40B4-BE49-F238E27FC236}">
                <a16:creationId xmlns:a16="http://schemas.microsoft.com/office/drawing/2014/main" id="{6433415B-3F55-1A46-AFF4-C9BB6B4C90F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83675" y="283135"/>
            <a:ext cx="2862755" cy="69794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lang="ru-RU" sz="1200" b="0" i="0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lvl="0" algn="r" defTabSz="914400"/>
            <a:r>
              <a:rPr lang="ru-RU" dirty="0"/>
              <a:t>НАВИГАЦИЯ СЛАЙДА</a:t>
            </a:r>
          </a:p>
        </p:txBody>
      </p:sp>
    </p:spTree>
    <p:extLst>
      <p:ext uri="{BB962C8B-B14F-4D97-AF65-F5344CB8AC3E}">
        <p14:creationId xmlns:p14="http://schemas.microsoft.com/office/powerpoint/2010/main" val="2863628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+на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2100426"/>
            <a:ext cx="5684752" cy="410034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452426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2" y="2169704"/>
            <a:ext cx="5577335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2" y="2461261"/>
            <a:ext cx="5577335" cy="360049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66247" y="2100426"/>
            <a:ext cx="5684752" cy="410034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66247" y="1452426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2796" y="2169704"/>
            <a:ext cx="5574282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796" y="2461261"/>
            <a:ext cx="5574282" cy="360049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78221" y="1452748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CC1678F-EC25-EE49-96C4-14BF7BC04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647786"/>
            <a:ext cx="8699380" cy="365125"/>
          </a:xfrm>
        </p:spPr>
        <p:txBody>
          <a:bodyPr vert="horz" wrap="square"/>
          <a:lstStyle>
            <a:lvl1pPr>
              <a:defRPr sz="2400" b="0" i="0"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dirty="0"/>
              <a:t>Заголовок СЛАЙДА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10EA8E3-BC7E-F545-83A6-6EB390F405B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0854" y="1088510"/>
            <a:ext cx="8599946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ru-RU" sz="2000" b="0" i="0" dirty="0" smtClean="0">
                <a:solidFill>
                  <a:srgbClr val="8A8A8A"/>
                </a:solidFill>
                <a:latin typeface="+mj-lt"/>
                <a:ea typeface="GPN_DIN Condensed Regular" panose="020B0506020202020204" pitchFamily="34" charset="-52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dirty="0"/>
              <a:t>ДЕСКРИПТОР СЛАЙДА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E21C94F7-9090-2E44-9E2F-6441D266C64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45255" y="277595"/>
            <a:ext cx="8695545" cy="30657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rgbClr val="004596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/>
              <a:t>НАДЗАГОЛОВОК СЛАЙДА</a:t>
            </a:r>
            <a:endParaRPr lang="en-US" dirty="0"/>
          </a:p>
        </p:txBody>
      </p:sp>
      <p:sp>
        <p:nvSpPr>
          <p:cNvPr id="22" name="Текст 4">
            <a:extLst>
              <a:ext uri="{FF2B5EF4-FFF2-40B4-BE49-F238E27FC236}">
                <a16:creationId xmlns:a16="http://schemas.microsoft.com/office/drawing/2014/main" id="{78F9E3B6-A6E9-1C4E-80FD-4D98B693A03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459905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7" name="Номер слайда 1">
            <a:extLst>
              <a:ext uri="{FF2B5EF4-FFF2-40B4-BE49-F238E27FC236}">
                <a16:creationId xmlns:a16="http://schemas.microsoft.com/office/drawing/2014/main" id="{B1AA6559-5508-464F-9338-1D632260D3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8" name="Текст 6">
            <a:extLst>
              <a:ext uri="{FF2B5EF4-FFF2-40B4-BE49-F238E27FC236}">
                <a16:creationId xmlns:a16="http://schemas.microsoft.com/office/drawing/2014/main" id="{3A05478D-427A-844B-8543-2477FDB997D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4" name="Текст 12">
            <a:extLst>
              <a:ext uri="{FF2B5EF4-FFF2-40B4-BE49-F238E27FC236}">
                <a16:creationId xmlns:a16="http://schemas.microsoft.com/office/drawing/2014/main" id="{D3D30669-E6AC-A141-BD7A-1DC2FC6C94A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83675" y="283135"/>
            <a:ext cx="2862755" cy="69794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lang="ru-RU" sz="1200" b="0" i="0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lvl="0" algn="r" defTabSz="914400"/>
            <a:r>
              <a:rPr lang="ru-RU" dirty="0"/>
              <a:t>НАВИГАЦИЯ СЛАЙДА</a:t>
            </a:r>
          </a:p>
        </p:txBody>
      </p:sp>
    </p:spTree>
    <p:extLst>
      <p:ext uri="{BB962C8B-B14F-4D97-AF65-F5344CB8AC3E}">
        <p14:creationId xmlns:p14="http://schemas.microsoft.com/office/powerpoint/2010/main" val="3598705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Монито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B25A5675-4BAC-7544-B66E-44F47F0779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3600" y="772928"/>
            <a:ext cx="7838876" cy="5888717"/>
          </a:xfrm>
          <a:prstGeom prst="rect">
            <a:avLst/>
          </a:prstGeom>
        </p:spPr>
      </p:pic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47130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47130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4470991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4656502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4713051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9" name="Рисунок 11">
            <a:extLst>
              <a:ext uri="{FF2B5EF4-FFF2-40B4-BE49-F238E27FC236}">
                <a16:creationId xmlns:a16="http://schemas.microsoft.com/office/drawing/2014/main" id="{B237B9A2-2B56-0F42-9AFD-5215B2CABC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65763" y="1391920"/>
            <a:ext cx="6135394" cy="344360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3" name="Номер слайда 1">
            <a:extLst>
              <a:ext uri="{FF2B5EF4-FFF2-40B4-BE49-F238E27FC236}">
                <a16:creationId xmlns:a16="http://schemas.microsoft.com/office/drawing/2014/main" id="{0BD9EC4F-759B-A94E-A22C-D96CD7973D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Текст 6">
            <a:extLst>
              <a:ext uri="{FF2B5EF4-FFF2-40B4-BE49-F238E27FC236}">
                <a16:creationId xmlns:a16="http://schemas.microsoft.com/office/drawing/2014/main" id="{3F54B621-73C6-CB4F-8803-D6817552E09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F1862A08-AB7F-7C40-9DA5-484FE8D09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vert="horz" wrap="square"/>
          <a:lstStyle>
            <a:lvl1pPr>
              <a:defRPr sz="2400" b="0" i="0"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2" name="Текст 12">
            <a:extLst>
              <a:ext uri="{FF2B5EF4-FFF2-40B4-BE49-F238E27FC236}">
                <a16:creationId xmlns:a16="http://schemas.microsoft.com/office/drawing/2014/main" id="{747AF185-76F0-BA41-A5B5-39437440AB8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83675" y="283135"/>
            <a:ext cx="2862755" cy="69794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lang="ru-RU" sz="1200" b="0" i="0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lvl="0" algn="r" defTabSz="914400"/>
            <a:r>
              <a:rPr lang="ru-RU" dirty="0"/>
              <a:t>НАВИГАЦИЯ СЛАЙДА</a:t>
            </a:r>
          </a:p>
        </p:txBody>
      </p:sp>
    </p:spTree>
    <p:extLst>
      <p:ext uri="{BB962C8B-B14F-4D97-AF65-F5344CB8AC3E}">
        <p14:creationId xmlns:p14="http://schemas.microsoft.com/office/powerpoint/2010/main" val="23529096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Планш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Рисунок 11">
            <a:extLst>
              <a:ext uri="{FF2B5EF4-FFF2-40B4-BE49-F238E27FC236}">
                <a16:creationId xmlns:a16="http://schemas.microsoft.com/office/drawing/2014/main" id="{B237B9A2-2B56-0F42-9AFD-5215B2CABC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422577" y="1572322"/>
            <a:ext cx="3155796" cy="4188056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E51872B-B978-9640-9D95-6D544123A41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0479" y="699828"/>
            <a:ext cx="5092965" cy="6321743"/>
          </a:xfrm>
          <a:prstGeom prst="rect">
            <a:avLst/>
          </a:prstGeom>
        </p:spPr>
      </p:pic>
      <p:sp>
        <p:nvSpPr>
          <p:cNvPr id="15" name="Freeform: Shape 28">
            <a:extLst>
              <a:ext uri="{FF2B5EF4-FFF2-40B4-BE49-F238E27FC236}">
                <a16:creationId xmlns:a16="http://schemas.microsoft.com/office/drawing/2014/main" id="{59CB238E-A3F4-EF47-ACBF-2FAB877C474C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Freeform: Shape 96">
            <a:extLst>
              <a:ext uri="{FF2B5EF4-FFF2-40B4-BE49-F238E27FC236}">
                <a16:creationId xmlns:a16="http://schemas.microsoft.com/office/drawing/2014/main" id="{062E24C5-3DA0-4F41-AEE3-9352F1CA3AA0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2" name="Text Placeholder 58">
            <a:extLst>
              <a:ext uri="{FF2B5EF4-FFF2-40B4-BE49-F238E27FC236}">
                <a16:creationId xmlns:a16="http://schemas.microsoft.com/office/drawing/2014/main" id="{A1FA2249-39CE-1B46-9B80-28F94D4254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3" name="Text Placeholder 78">
            <a:extLst>
              <a:ext uri="{FF2B5EF4-FFF2-40B4-BE49-F238E27FC236}">
                <a16:creationId xmlns:a16="http://schemas.microsoft.com/office/drawing/2014/main" id="{D838967C-D22A-A043-BB9D-977E58482A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3576606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4" name="Текст 4">
            <a:extLst>
              <a:ext uri="{FF2B5EF4-FFF2-40B4-BE49-F238E27FC236}">
                <a16:creationId xmlns:a16="http://schemas.microsoft.com/office/drawing/2014/main" id="{33571AFF-8E09-434A-8A28-9F62450D20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5" name="Freeform: Shape 28">
            <a:extLst>
              <a:ext uri="{FF2B5EF4-FFF2-40B4-BE49-F238E27FC236}">
                <a16:creationId xmlns:a16="http://schemas.microsoft.com/office/drawing/2014/main" id="{B3B66B99-77C0-5147-8240-F3176AF2F15D}"/>
              </a:ext>
            </a:extLst>
          </p:cNvPr>
          <p:cNvSpPr>
            <a:spLocks/>
          </p:cNvSpPr>
          <p:nvPr userDrawn="1"/>
        </p:nvSpPr>
        <p:spPr>
          <a:xfrm>
            <a:off x="4222687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Freeform: Shape 96">
            <a:extLst>
              <a:ext uri="{FF2B5EF4-FFF2-40B4-BE49-F238E27FC236}">
                <a16:creationId xmlns:a16="http://schemas.microsoft.com/office/drawing/2014/main" id="{24586272-5B97-D547-BB54-46E2E6AF660C}"/>
              </a:ext>
            </a:extLst>
          </p:cNvPr>
          <p:cNvSpPr>
            <a:spLocks/>
          </p:cNvSpPr>
          <p:nvPr userDrawn="1"/>
        </p:nvSpPr>
        <p:spPr>
          <a:xfrm>
            <a:off x="4222687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7" name="Text Placeholder 58">
            <a:extLst>
              <a:ext uri="{FF2B5EF4-FFF2-40B4-BE49-F238E27FC236}">
                <a16:creationId xmlns:a16="http://schemas.microsoft.com/office/drawing/2014/main" id="{59F1CE52-31E2-7C49-967B-AB5B06E00D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79236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9" name="Text Placeholder 78">
            <a:extLst>
              <a:ext uri="{FF2B5EF4-FFF2-40B4-BE49-F238E27FC236}">
                <a16:creationId xmlns:a16="http://schemas.microsoft.com/office/drawing/2014/main" id="{79F28B29-366F-694E-ABA4-7B8BF7277CC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79236" y="2137227"/>
            <a:ext cx="3576606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0" name="Текст 4">
            <a:extLst>
              <a:ext uri="{FF2B5EF4-FFF2-40B4-BE49-F238E27FC236}">
                <a16:creationId xmlns:a16="http://schemas.microsoft.com/office/drawing/2014/main" id="{F397536A-8AAF-FC4B-B1FA-589DA5E0402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22451" y="1128713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ECD2C38D-6C53-264C-A109-E5C6B487D5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8" name="Текст 6">
            <a:extLst>
              <a:ext uri="{FF2B5EF4-FFF2-40B4-BE49-F238E27FC236}">
                <a16:creationId xmlns:a16="http://schemas.microsoft.com/office/drawing/2014/main" id="{E3D548EE-DE4C-1C42-BCFC-2839A7C15EA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6B48E207-BBE3-8941-BE27-055CB106D7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vert="horz" wrap="square"/>
          <a:lstStyle>
            <a:lvl1pPr>
              <a:defRPr sz="2400" b="0" i="0"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33" name="Текст 12">
            <a:extLst>
              <a:ext uri="{FF2B5EF4-FFF2-40B4-BE49-F238E27FC236}">
                <a16:creationId xmlns:a16="http://schemas.microsoft.com/office/drawing/2014/main" id="{B5163CBE-AF37-5F44-847A-BA84915EB59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83675" y="283135"/>
            <a:ext cx="2862755" cy="69794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lang="ru-RU" sz="1200" b="0" i="0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lvl="0" algn="r" defTabSz="914400"/>
            <a:r>
              <a:rPr lang="ru-RU" dirty="0"/>
              <a:t>НАВИГАЦИЯ СЛАЙДА</a:t>
            </a:r>
          </a:p>
        </p:txBody>
      </p:sp>
    </p:spTree>
    <p:extLst>
      <p:ext uri="{BB962C8B-B14F-4D97-AF65-F5344CB8AC3E}">
        <p14:creationId xmlns:p14="http://schemas.microsoft.com/office/powerpoint/2010/main" val="1434284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Теле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4005D14-D1C0-2A47-94E0-760D72A25F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0800" y="852616"/>
            <a:ext cx="3161652" cy="52891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838841B-F916-427A-B2A6-C06F8ECB74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9369662" cy="365125"/>
          </a:xfrm>
        </p:spPr>
        <p:txBody>
          <a:bodyPr vert="horz" wrap="square"/>
          <a:lstStyle>
            <a:lvl1pPr>
              <a:defRPr sz="2400" b="0" i="0"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9" name="Рисунок 11">
            <a:extLst>
              <a:ext uri="{FF2B5EF4-FFF2-40B4-BE49-F238E27FC236}">
                <a16:creationId xmlns:a16="http://schemas.microsoft.com/office/drawing/2014/main" id="{B237B9A2-2B56-0F42-9AFD-5215B2CABC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511784" y="1700582"/>
            <a:ext cx="1977263" cy="3495639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25" name="Freeform: Shape 28">
            <a:extLst>
              <a:ext uri="{FF2B5EF4-FFF2-40B4-BE49-F238E27FC236}">
                <a16:creationId xmlns:a16="http://schemas.microsoft.com/office/drawing/2014/main" id="{B3B66B99-77C0-5147-8240-F3176AF2F15D}"/>
              </a:ext>
            </a:extLst>
          </p:cNvPr>
          <p:cNvSpPr>
            <a:spLocks/>
          </p:cNvSpPr>
          <p:nvPr userDrawn="1"/>
        </p:nvSpPr>
        <p:spPr>
          <a:xfrm>
            <a:off x="5199299" y="1776391"/>
            <a:ext cx="3741501" cy="395765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Freeform: Shape 96">
            <a:extLst>
              <a:ext uri="{FF2B5EF4-FFF2-40B4-BE49-F238E27FC236}">
                <a16:creationId xmlns:a16="http://schemas.microsoft.com/office/drawing/2014/main" id="{24586272-5B97-D547-BB54-46E2E6AF660C}"/>
              </a:ext>
            </a:extLst>
          </p:cNvPr>
          <p:cNvSpPr>
            <a:spLocks/>
          </p:cNvSpPr>
          <p:nvPr userDrawn="1"/>
        </p:nvSpPr>
        <p:spPr>
          <a:xfrm>
            <a:off x="5199299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7" name="Text Placeholder 58">
            <a:extLst>
              <a:ext uri="{FF2B5EF4-FFF2-40B4-BE49-F238E27FC236}">
                <a16:creationId xmlns:a16="http://schemas.microsoft.com/office/drawing/2014/main" id="{59F1CE52-31E2-7C49-967B-AB5B06E00D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55848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9" name="Text Placeholder 78">
            <a:extLst>
              <a:ext uri="{FF2B5EF4-FFF2-40B4-BE49-F238E27FC236}">
                <a16:creationId xmlns:a16="http://schemas.microsoft.com/office/drawing/2014/main" id="{79F28B29-366F-694E-ABA4-7B8BF7277CC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55848" y="2137227"/>
            <a:ext cx="3576606" cy="349259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0" name="Текст 4">
            <a:extLst>
              <a:ext uri="{FF2B5EF4-FFF2-40B4-BE49-F238E27FC236}">
                <a16:creationId xmlns:a16="http://schemas.microsoft.com/office/drawing/2014/main" id="{F397536A-8AAF-FC4B-B1FA-589DA5E0402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99063" y="1128713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Freeform: Shape 28">
            <a:extLst>
              <a:ext uri="{FF2B5EF4-FFF2-40B4-BE49-F238E27FC236}">
                <a16:creationId xmlns:a16="http://schemas.microsoft.com/office/drawing/2014/main" id="{1923478E-81C2-6E46-B4CA-AE16CCE861FB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47130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Freeform: Shape 96">
            <a:extLst>
              <a:ext uri="{FF2B5EF4-FFF2-40B4-BE49-F238E27FC236}">
                <a16:creationId xmlns:a16="http://schemas.microsoft.com/office/drawing/2014/main" id="{D067ADD6-728D-9147-9453-C16A5182A795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47130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2" name="Text Placeholder 58">
            <a:extLst>
              <a:ext uri="{FF2B5EF4-FFF2-40B4-BE49-F238E27FC236}">
                <a16:creationId xmlns:a16="http://schemas.microsoft.com/office/drawing/2014/main" id="{0CE5EBA7-5E00-094C-8C83-F005A5810E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4505338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Text Placeholder 78">
            <a:extLst>
              <a:ext uri="{FF2B5EF4-FFF2-40B4-BE49-F238E27FC236}">
                <a16:creationId xmlns:a16="http://schemas.microsoft.com/office/drawing/2014/main" id="{12B8776C-A5FA-8440-AC64-DF44DD44D0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8"/>
            <a:ext cx="4505338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926D71B2-4F01-8341-8334-F4A2198EF29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4713121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5" name="Freeform: Shape 28">
            <a:extLst>
              <a:ext uri="{FF2B5EF4-FFF2-40B4-BE49-F238E27FC236}">
                <a16:creationId xmlns:a16="http://schemas.microsoft.com/office/drawing/2014/main" id="{45B3DB45-8346-274C-A053-3917E67AA99E}"/>
              </a:ext>
            </a:extLst>
          </p:cNvPr>
          <p:cNvSpPr>
            <a:spLocks/>
          </p:cNvSpPr>
          <p:nvPr userDrawn="1"/>
        </p:nvSpPr>
        <p:spPr>
          <a:xfrm>
            <a:off x="334963" y="4155010"/>
            <a:ext cx="47130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96">
            <a:extLst>
              <a:ext uri="{FF2B5EF4-FFF2-40B4-BE49-F238E27FC236}">
                <a16:creationId xmlns:a16="http://schemas.microsoft.com/office/drawing/2014/main" id="{EC37CF7E-C140-2643-A746-84D6C565CEB1}"/>
              </a:ext>
            </a:extLst>
          </p:cNvPr>
          <p:cNvSpPr>
            <a:spLocks/>
          </p:cNvSpPr>
          <p:nvPr userDrawn="1"/>
        </p:nvSpPr>
        <p:spPr>
          <a:xfrm>
            <a:off x="334963" y="3507010"/>
            <a:ext cx="47130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7" name="Text Placeholder 58">
            <a:extLst>
              <a:ext uri="{FF2B5EF4-FFF2-40B4-BE49-F238E27FC236}">
                <a16:creationId xmlns:a16="http://schemas.microsoft.com/office/drawing/2014/main" id="{46671F13-DA12-724C-A091-38B465D860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91512" y="4224288"/>
            <a:ext cx="4505338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1395E219-E5B6-364A-B939-ACB8508105D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1512" y="4515847"/>
            <a:ext cx="4505338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9" name="Текст 4">
            <a:extLst>
              <a:ext uri="{FF2B5EF4-FFF2-40B4-BE49-F238E27FC236}">
                <a16:creationId xmlns:a16="http://schemas.microsoft.com/office/drawing/2014/main" id="{CA54879F-E8D7-4B49-B418-CF162DA3941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727" y="3507332"/>
            <a:ext cx="4713121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3" name="Номер слайда 1">
            <a:extLst>
              <a:ext uri="{FF2B5EF4-FFF2-40B4-BE49-F238E27FC236}">
                <a16:creationId xmlns:a16="http://schemas.microsoft.com/office/drawing/2014/main" id="{4ACDADA5-737B-4A4D-A875-05B7A2EC78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id="{4E71762F-76F0-A94F-AAFC-3C4230D8D28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28" name="Текст 12">
            <a:extLst>
              <a:ext uri="{FF2B5EF4-FFF2-40B4-BE49-F238E27FC236}">
                <a16:creationId xmlns:a16="http://schemas.microsoft.com/office/drawing/2014/main" id="{87D583A6-24F9-8445-B0FB-BC8882D9C8A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503971" y="242943"/>
            <a:ext cx="1442459" cy="3315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ru-RU" sz="1200" b="0" i="0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lvl="0" algn="r" defTabSz="914400"/>
            <a:r>
              <a:rPr lang="ru-RU" dirty="0"/>
              <a:t>НАВИГАЦИЯ СЛАЙДА</a:t>
            </a:r>
          </a:p>
        </p:txBody>
      </p:sp>
    </p:spTree>
    <p:extLst>
      <p:ext uri="{BB962C8B-B14F-4D97-AF65-F5344CB8AC3E}">
        <p14:creationId xmlns:p14="http://schemas.microsoft.com/office/powerpoint/2010/main" val="2342988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83CA2-8693-4AFB-B41D-3EF0B4970091}" type="datetimeFigureOut">
              <a:rPr lang="ru-RU" smtClean="0"/>
              <a:t>09.04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ABA8E-A86D-4D17-8897-FCA1AD88C3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15828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83CA2-8693-4AFB-B41D-3EF0B4970091}" type="datetimeFigureOut">
              <a:rPr lang="ru-RU" smtClean="0"/>
              <a:t>09.04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ABA8E-A86D-4D17-8897-FCA1AD88C3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07943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83CA2-8693-4AFB-B41D-3EF0B4970091}" type="datetimeFigureOut">
              <a:rPr lang="ru-RU" smtClean="0"/>
              <a:t>09.04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ABA8E-A86D-4D17-8897-FCA1AD88C3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72828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83CA2-8693-4AFB-B41D-3EF0B4970091}" type="datetimeFigureOut">
              <a:rPr lang="ru-RU" smtClean="0"/>
              <a:t>09.04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ABA8E-A86D-4D17-8897-FCA1AD88C3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52661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83CA2-8693-4AFB-B41D-3EF0B4970091}" type="datetimeFigureOut">
              <a:rPr lang="ru-RU" smtClean="0"/>
              <a:t>09.04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1ABA8E-A86D-4D17-8897-FCA1AD88C3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8600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theme" Target="../theme/theme2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B83CA2-8693-4AFB-B41D-3EF0B4970091}" type="datetimeFigureOut">
              <a:rPr lang="ru-RU" smtClean="0"/>
              <a:t>09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1ABA8E-A86D-4D17-8897-FCA1AD88C3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0933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3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9" imgW="359" imgH="360" progId="TCLayout.ActiveDocument.1">
                  <p:embed/>
                </p:oleObj>
              </mc:Choice>
              <mc:Fallback>
                <p:oleObj name="Слайд think-cell" r:id="rId39" imgW="359" imgH="36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LogoEng" hidden="1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dirty="0">
                <a:solidFill>
                  <a:schemeClr val="bg2"/>
                </a:solidFill>
              </a:rPr>
              <a:t>Gazprom</a:t>
            </a:r>
            <a:r>
              <a:rPr lang="en-US" sz="1000" baseline="0" noProof="0" dirty="0">
                <a:solidFill>
                  <a:schemeClr val="bg2"/>
                </a:solidFill>
              </a:rPr>
              <a:t> </a:t>
            </a:r>
            <a:r>
              <a:rPr lang="en-US" sz="1000" baseline="0" noProof="0" dirty="0" err="1">
                <a:solidFill>
                  <a:schemeClr val="bg2"/>
                </a:solidFill>
              </a:rPr>
              <a:t>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4BF4718D-6139-319F-8F0F-08DA8DA4E8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5710" y="6296520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rgbClr val="7E7E7E"/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/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8556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200" b="1" kern="1200" cap="all" baseline="0">
          <a:solidFill>
            <a:schemeClr val="tx1">
              <a:lumMod val="60000"/>
              <a:lumOff val="4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800" b="1" kern="1200" cap="all" baseline="0">
          <a:solidFill>
            <a:schemeClr val="tx1"/>
          </a:solidFill>
          <a:latin typeface="+mj-lt"/>
          <a:ea typeface="+mn-ea"/>
          <a:cs typeface="+mn-cs"/>
        </a:defRPr>
      </a:lvl1pPr>
      <a:lvl2pPr marL="266700" marR="0" indent="-266700" algn="l" defTabSz="914400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49263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accent3"/>
        </a:buClr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048">
          <p15:clr>
            <a:srgbClr val="F26B43"/>
          </p15:clr>
        </p15:guide>
        <p15:guide id="2" orient="horz" pos="1207">
          <p15:clr>
            <a:srgbClr val="F26B43"/>
          </p15:clr>
        </p15:guide>
        <p15:guide id="3" pos="7469">
          <p15:clr>
            <a:srgbClr val="F26B43"/>
          </p15:clr>
        </p15:guide>
        <p15:guide id="4" pos="211">
          <p15:clr>
            <a:srgbClr val="F26B43"/>
          </p15:clr>
        </p15:guide>
        <p15:guide id="5" orient="horz" pos="210">
          <p15:clr>
            <a:srgbClr val="F26B43"/>
          </p15:clr>
        </p15:guide>
        <p15:guide id="6" orient="horz" pos="4110">
          <p15:clr>
            <a:srgbClr val="F26B43"/>
          </p15:clr>
        </p15:guide>
        <p15:guide id="7" pos="1958">
          <p15:clr>
            <a:srgbClr val="F26B43"/>
          </p15:clr>
        </p15:guide>
        <p15:guide id="8" pos="2570">
          <p15:clr>
            <a:srgbClr val="F26B43"/>
          </p15:clr>
        </p15:guide>
        <p15:guide id="9" orient="horz" pos="1117">
          <p15:clr>
            <a:srgbClr val="F26B43"/>
          </p15:clr>
        </p15:guide>
        <p15:guide id="10" orient="horz" pos="1616">
          <p15:clr>
            <a:srgbClr val="F26B43"/>
          </p15:clr>
        </p15:guide>
        <p15:guide id="11" pos="1436">
          <p15:clr>
            <a:srgbClr val="F26B43"/>
          </p15:clr>
        </p15:guide>
        <p15:guide id="12" pos="1345">
          <p15:clr>
            <a:srgbClr val="F26B43"/>
          </p15:clr>
        </p15:guide>
        <p15:guide id="13" pos="824">
          <p15:clr>
            <a:srgbClr val="F26B43"/>
          </p15:clr>
        </p15:guide>
        <p15:guide id="14" pos="3182">
          <p15:clr>
            <a:srgbClr val="F26B43"/>
          </p15:clr>
        </p15:guide>
        <p15:guide id="15" pos="3273">
          <p15:clr>
            <a:srgbClr val="F26B43"/>
          </p15:clr>
        </p15:guide>
        <p15:guide id="16" pos="3795">
          <p15:clr>
            <a:srgbClr val="F26B43"/>
          </p15:clr>
        </p15:guide>
        <p15:guide id="17" pos="733">
          <p15:clr>
            <a:srgbClr val="F26B43"/>
          </p15:clr>
        </p15:guide>
        <p15:guide id="18" orient="horz" pos="618">
          <p15:clr>
            <a:srgbClr val="F26B43"/>
          </p15:clr>
        </p15:guide>
        <p15:guide id="19" pos="2661">
          <p15:clr>
            <a:srgbClr val="F26B43"/>
          </p15:clr>
        </p15:guide>
        <p15:guide id="20" pos="3885">
          <p15:clr>
            <a:srgbClr val="F26B43"/>
          </p15:clr>
        </p15:guide>
        <p15:guide id="21" pos="4407">
          <p15:clr>
            <a:srgbClr val="F26B43"/>
          </p15:clr>
        </p15:guide>
        <p15:guide id="22" pos="4498">
          <p15:clr>
            <a:srgbClr val="F26B43"/>
          </p15:clr>
        </p15:guide>
        <p15:guide id="23" pos="5019">
          <p15:clr>
            <a:srgbClr val="F26B43"/>
          </p15:clr>
        </p15:guide>
        <p15:guide id="24" pos="5632">
          <p15:clr>
            <a:srgbClr val="F26B43"/>
          </p15:clr>
        </p15:guide>
        <p15:guide id="25" pos="5110">
          <p15:clr>
            <a:srgbClr val="F26B43"/>
          </p15:clr>
        </p15:guide>
        <p15:guide id="26" pos="5722">
          <p15:clr>
            <a:srgbClr val="F26B43"/>
          </p15:clr>
        </p15:guide>
        <p15:guide id="27" pos="6244">
          <p15:clr>
            <a:srgbClr val="F26B43"/>
          </p15:clr>
        </p15:guide>
        <p15:guide id="28" pos="6335">
          <p15:clr>
            <a:srgbClr val="F26B43"/>
          </p15:clr>
        </p15:guide>
        <p15:guide id="29" pos="6856">
          <p15:clr>
            <a:srgbClr val="F26B43"/>
          </p15:clr>
        </p15:guide>
        <p15:guide id="30" pos="6947">
          <p15:clr>
            <a:srgbClr val="F26B43"/>
          </p15:clr>
        </p15:guide>
        <p15:guide id="31" orient="horz" pos="3906">
          <p15:clr>
            <a:srgbClr val="F26B43"/>
          </p15:clr>
        </p15:guide>
        <p15:guide id="32" orient="horz" pos="1706">
          <p15:clr>
            <a:srgbClr val="F26B43"/>
          </p15:clr>
        </p15:guide>
        <p15:guide id="33" orient="horz" pos="3702">
          <p15:clr>
            <a:srgbClr val="F26B43"/>
          </p15:clr>
        </p15:guide>
        <p15:guide id="34" orient="horz" pos="3612">
          <p15:clr>
            <a:srgbClr val="F26B43"/>
          </p15:clr>
        </p15:guide>
        <p15:guide id="35" orient="horz" pos="3203">
          <p15:clr>
            <a:srgbClr val="F26B43"/>
          </p15:clr>
        </p15:guide>
        <p15:guide id="36" orient="horz" pos="3113">
          <p15:clr>
            <a:srgbClr val="F26B43"/>
          </p15:clr>
        </p15:guide>
        <p15:guide id="37" orient="horz" pos="2704">
          <p15:clr>
            <a:srgbClr val="F26B43"/>
          </p15:clr>
        </p15:guide>
        <p15:guide id="38" orient="horz" pos="2614">
          <p15:clr>
            <a:srgbClr val="F26B43"/>
          </p15:clr>
        </p15:guide>
        <p15:guide id="39" orient="horz" pos="2205">
          <p15:clr>
            <a:srgbClr val="F26B43"/>
          </p15:clr>
        </p15:guide>
        <p15:guide id="40" orient="horz" pos="2115">
          <p15:clr>
            <a:srgbClr val="F26B43"/>
          </p15:clr>
        </p15:guide>
        <p15:guide id="41" orient="horz" pos="7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F85121-6B4D-B11B-4E56-AC7F2B25A3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4DE7F54-66FE-D339-621B-6FB0C0006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419" y="286257"/>
            <a:ext cx="10660359" cy="694818"/>
          </a:xfrm>
        </p:spPr>
        <p:txBody>
          <a:bodyPr/>
          <a:lstStyle/>
          <a:p>
            <a:r>
              <a:rPr lang="ru-RU" sz="2800" dirty="0"/>
              <a:t>ГПН-Х не принимал участие в фабрике потенциала в 2023 г.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43D94C9-3E34-BF57-72B0-9400D51CFD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ru-RU"/>
              <a:t>ГАЗПРОМ НЕФТЬ   </a:t>
            </a:r>
            <a:fld id="{D58DDE06-DF15-0A4F-A85A-4EB38848D8EB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6D5457BA-6A71-82D8-F852-9C1D53094039}"/>
              </a:ext>
            </a:extLst>
          </p:cNvPr>
          <p:cNvSpPr/>
          <p:nvPr/>
        </p:nvSpPr>
        <p:spPr>
          <a:xfrm>
            <a:off x="341697" y="1061860"/>
            <a:ext cx="10297727" cy="385304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9DE707B7-67C9-6DDB-BD2B-845A829F6CBA}"/>
              </a:ext>
            </a:extLst>
          </p:cNvPr>
          <p:cNvSpPr/>
          <p:nvPr/>
        </p:nvSpPr>
        <p:spPr>
          <a:xfrm>
            <a:off x="341698" y="5123942"/>
            <a:ext cx="1207363" cy="1252892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795BCF48-A587-358E-8B5B-B662B38729C2}"/>
              </a:ext>
            </a:extLst>
          </p:cNvPr>
          <p:cNvSpPr/>
          <p:nvPr/>
        </p:nvSpPr>
        <p:spPr>
          <a:xfrm>
            <a:off x="413136" y="5487725"/>
            <a:ext cx="3622089" cy="808795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FCA7CD3-0867-9A75-D01E-11ACC668195C}"/>
              </a:ext>
            </a:extLst>
          </p:cNvPr>
          <p:cNvSpPr txBox="1"/>
          <p:nvPr/>
        </p:nvSpPr>
        <p:spPr>
          <a:xfrm>
            <a:off x="473756" y="5577834"/>
            <a:ext cx="350084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bg1"/>
                </a:solidFill>
              </a:rPr>
              <a:t>Отсутствие выездных командировок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bg1"/>
                </a:solidFill>
              </a:rPr>
              <a:t>Не полное соответствие запросу ДО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33AE186-0F30-B8C9-E250-02A956903C52}"/>
              </a:ext>
            </a:extLst>
          </p:cNvPr>
          <p:cNvSpPr txBox="1"/>
          <p:nvPr/>
        </p:nvSpPr>
        <p:spPr>
          <a:xfrm>
            <a:off x="341698" y="5177420"/>
            <a:ext cx="1207363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8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ПРИЧИНЫ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8DDCE74-27BE-C861-A829-816FC490CC7B}"/>
              </a:ext>
            </a:extLst>
          </p:cNvPr>
          <p:cNvSpPr txBox="1"/>
          <p:nvPr/>
        </p:nvSpPr>
        <p:spPr>
          <a:xfrm>
            <a:off x="945379" y="2849880"/>
            <a:ext cx="1207363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dirty="0">
                <a:solidFill>
                  <a:schemeClr val="tx1">
                    <a:lumMod val="60000"/>
                    <a:lumOff val="40000"/>
                  </a:schemeClr>
                </a:solidFill>
              </a:rPr>
              <a:t>СКРИНШОТ</a:t>
            </a:r>
            <a:endParaRPr lang="ru-RU" sz="18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08785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F85121-6B4D-B11B-4E56-AC7F2B25A3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: скругленные углы 27">
            <a:extLst>
              <a:ext uri="{FF2B5EF4-FFF2-40B4-BE49-F238E27FC236}">
                <a16:creationId xmlns:a16="http://schemas.microsoft.com/office/drawing/2014/main" id="{5513F079-1B1F-6403-6F2F-5B3E719944FB}"/>
              </a:ext>
            </a:extLst>
          </p:cNvPr>
          <p:cNvSpPr/>
          <p:nvPr/>
        </p:nvSpPr>
        <p:spPr>
          <a:xfrm>
            <a:off x="381450" y="949731"/>
            <a:ext cx="1725227" cy="1252892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C15CC06-9882-1345-FDB9-C087E43FF600}"/>
              </a:ext>
            </a:extLst>
          </p:cNvPr>
          <p:cNvSpPr txBox="1"/>
          <p:nvPr/>
        </p:nvSpPr>
        <p:spPr>
          <a:xfrm rot="16200000">
            <a:off x="-93662" y="1478208"/>
            <a:ext cx="1252892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БАЗОВЫЕ ОПЦИИ</a:t>
            </a:r>
          </a:p>
        </p:txBody>
      </p:sp>
      <p:sp>
        <p:nvSpPr>
          <p:cNvPr id="26" name="Прямоугольник: скругленные углы 25">
            <a:extLst>
              <a:ext uri="{FF2B5EF4-FFF2-40B4-BE49-F238E27FC236}">
                <a16:creationId xmlns:a16="http://schemas.microsoft.com/office/drawing/2014/main" id="{FF6D1639-A5D8-A879-40E4-F0DC54B3C7D1}"/>
              </a:ext>
            </a:extLst>
          </p:cNvPr>
          <p:cNvSpPr/>
          <p:nvPr/>
        </p:nvSpPr>
        <p:spPr>
          <a:xfrm>
            <a:off x="381450" y="3028422"/>
            <a:ext cx="1725227" cy="1252892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4DE7F54-66FE-D339-621B-6FB0C0006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419" y="286257"/>
            <a:ext cx="10660359" cy="694818"/>
          </a:xfrm>
        </p:spPr>
        <p:txBody>
          <a:bodyPr/>
          <a:lstStyle/>
          <a:p>
            <a:r>
              <a:rPr lang="ru-RU" sz="2800" dirty="0"/>
              <a:t>Опции вовлечения ГПН-Х в деятельность СУОД в 2024 г.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43D94C9-3E34-BF57-72B0-9400D51CFD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ru-RU"/>
              <a:t>ГАЗПРОМ НЕФТЬ   </a:t>
            </a:r>
            <a:fld id="{D58DDE06-DF15-0A4F-A85A-4EB38848D8EB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6D5457BA-6A71-82D8-F852-9C1D53094039}"/>
              </a:ext>
            </a:extLst>
          </p:cNvPr>
          <p:cNvSpPr/>
          <p:nvPr/>
        </p:nvSpPr>
        <p:spPr>
          <a:xfrm>
            <a:off x="664843" y="944097"/>
            <a:ext cx="11155682" cy="1584434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8DDCE74-27BE-C861-A829-816FC490CC7B}"/>
              </a:ext>
            </a:extLst>
          </p:cNvPr>
          <p:cNvSpPr txBox="1"/>
          <p:nvPr/>
        </p:nvSpPr>
        <p:spPr>
          <a:xfrm>
            <a:off x="1537432" y="1175511"/>
            <a:ext cx="2561524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dirty="0">
                <a:solidFill>
                  <a:schemeClr val="accent4"/>
                </a:solidFill>
              </a:rPr>
              <a:t>ОЦЕНКА ЗРЕЛОСТИ</a:t>
            </a:r>
            <a:endParaRPr lang="ru-RU" sz="1800" dirty="0">
              <a:solidFill>
                <a:schemeClr val="accent4"/>
              </a:solidFill>
            </a:endParaRPr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A3A02B9A-9287-BD5F-3FF8-0CF71FE09811}"/>
              </a:ext>
            </a:extLst>
          </p:cNvPr>
          <p:cNvSpPr/>
          <p:nvPr/>
        </p:nvSpPr>
        <p:spPr>
          <a:xfrm>
            <a:off x="883331" y="1175511"/>
            <a:ext cx="522042" cy="522042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2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4A1147-8371-3FDA-20E7-EC0D60CD669D}"/>
              </a:ext>
            </a:extLst>
          </p:cNvPr>
          <p:cNvSpPr txBox="1"/>
          <p:nvPr/>
        </p:nvSpPr>
        <p:spPr>
          <a:xfrm>
            <a:off x="1537432" y="1482109"/>
            <a:ext cx="256152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Описание … …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F7045F-D6A4-9006-3178-1CB259BC078F}"/>
              </a:ext>
            </a:extLst>
          </p:cNvPr>
          <p:cNvSpPr txBox="1"/>
          <p:nvPr/>
        </p:nvSpPr>
        <p:spPr>
          <a:xfrm>
            <a:off x="1537432" y="1868261"/>
            <a:ext cx="4558568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80975" indent="-180975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Ресурс КЦ</a:t>
            </a:r>
          </a:p>
          <a:p>
            <a:pPr marL="180975" indent="-180975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Выявление организационного и процессного потенциала ДО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E4D1EE-4D21-83E8-1999-6E5646CD7A55}"/>
              </a:ext>
            </a:extLst>
          </p:cNvPr>
          <p:cNvSpPr txBox="1"/>
          <p:nvPr/>
        </p:nvSpPr>
        <p:spPr>
          <a:xfrm>
            <a:off x="9166272" y="1130592"/>
            <a:ext cx="236088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1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Даты: _________ - __________</a:t>
            </a:r>
          </a:p>
        </p:txBody>
      </p:sp>
      <p:sp>
        <p:nvSpPr>
          <p:cNvPr id="15" name="Прямоугольник: скругленные углы 14">
            <a:extLst>
              <a:ext uri="{FF2B5EF4-FFF2-40B4-BE49-F238E27FC236}">
                <a16:creationId xmlns:a16="http://schemas.microsoft.com/office/drawing/2014/main" id="{D4371C69-22D0-929C-A807-40F3455226B4}"/>
              </a:ext>
            </a:extLst>
          </p:cNvPr>
          <p:cNvSpPr/>
          <p:nvPr/>
        </p:nvSpPr>
        <p:spPr>
          <a:xfrm>
            <a:off x="664843" y="3029565"/>
            <a:ext cx="11155681" cy="3118681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FC03D94-9637-B55A-27B9-1146BE890B35}"/>
              </a:ext>
            </a:extLst>
          </p:cNvPr>
          <p:cNvSpPr txBox="1"/>
          <p:nvPr/>
        </p:nvSpPr>
        <p:spPr>
          <a:xfrm>
            <a:off x="1537432" y="3250879"/>
            <a:ext cx="2561524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dirty="0">
                <a:solidFill>
                  <a:schemeClr val="accent4"/>
                </a:solidFill>
              </a:rPr>
              <a:t>ПСП + Форум ПСП</a:t>
            </a:r>
            <a:endParaRPr lang="ru-RU" sz="1800" dirty="0">
              <a:solidFill>
                <a:schemeClr val="accent4"/>
              </a:solidFill>
            </a:endParaRP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8C259BFE-6DD7-86B8-2F80-A9BD24E5B1C7}"/>
              </a:ext>
            </a:extLst>
          </p:cNvPr>
          <p:cNvSpPr/>
          <p:nvPr/>
        </p:nvSpPr>
        <p:spPr>
          <a:xfrm>
            <a:off x="883331" y="3250879"/>
            <a:ext cx="522042" cy="522042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24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EC102F8-70D4-9F7A-FE66-6F0BA03866CF}"/>
              </a:ext>
            </a:extLst>
          </p:cNvPr>
          <p:cNvSpPr txBox="1"/>
          <p:nvPr/>
        </p:nvSpPr>
        <p:spPr>
          <a:xfrm>
            <a:off x="1537432" y="3557477"/>
            <a:ext cx="256152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Описание … …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D11A4B2-2339-B8DB-A1F5-9C0654B63A98}"/>
              </a:ext>
            </a:extLst>
          </p:cNvPr>
          <p:cNvSpPr txBox="1"/>
          <p:nvPr/>
        </p:nvSpPr>
        <p:spPr>
          <a:xfrm>
            <a:off x="1537432" y="3943629"/>
            <a:ext cx="4558568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80975" indent="-180975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   </a:t>
            </a:r>
          </a:p>
          <a:p>
            <a:pPr marL="180975" indent="-180975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  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BB94FC2-9D83-08B7-615F-037AA6349828}"/>
              </a:ext>
            </a:extLst>
          </p:cNvPr>
          <p:cNvSpPr txBox="1"/>
          <p:nvPr/>
        </p:nvSpPr>
        <p:spPr>
          <a:xfrm>
            <a:off x="9166272" y="3281656"/>
            <a:ext cx="236088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1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Даты: _________ - __________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C6469AE-FE8D-3E2C-1C75-CFD45AAFA639}"/>
              </a:ext>
            </a:extLst>
          </p:cNvPr>
          <p:cNvSpPr txBox="1"/>
          <p:nvPr/>
        </p:nvSpPr>
        <p:spPr>
          <a:xfrm>
            <a:off x="1537432" y="4790266"/>
            <a:ext cx="2561524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dirty="0">
                <a:solidFill>
                  <a:schemeClr val="accent4"/>
                </a:solidFill>
              </a:rPr>
              <a:t>ПСП + Форум ПСП</a:t>
            </a:r>
            <a:endParaRPr lang="ru-RU" sz="1800" dirty="0">
              <a:solidFill>
                <a:schemeClr val="accent4"/>
              </a:solidFill>
            </a:endParaRPr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1F322E15-6365-B506-3419-5E892D16FF67}"/>
              </a:ext>
            </a:extLst>
          </p:cNvPr>
          <p:cNvSpPr/>
          <p:nvPr/>
        </p:nvSpPr>
        <p:spPr>
          <a:xfrm>
            <a:off x="883331" y="4790266"/>
            <a:ext cx="522042" cy="522042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24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83D252-955D-53D1-19A3-811938056E34}"/>
              </a:ext>
            </a:extLst>
          </p:cNvPr>
          <p:cNvSpPr txBox="1"/>
          <p:nvPr/>
        </p:nvSpPr>
        <p:spPr>
          <a:xfrm>
            <a:off x="1537432" y="5096864"/>
            <a:ext cx="256152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Описание … …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98D1F93-0AA8-AEB3-308F-9CC5A1BB182D}"/>
              </a:ext>
            </a:extLst>
          </p:cNvPr>
          <p:cNvSpPr txBox="1"/>
          <p:nvPr/>
        </p:nvSpPr>
        <p:spPr>
          <a:xfrm>
            <a:off x="1537432" y="5483016"/>
            <a:ext cx="4558568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80975" indent="-180975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   </a:t>
            </a:r>
          </a:p>
          <a:p>
            <a:pPr marL="180975" indent="-180975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  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FBA22B8-D74A-D46A-5729-31E69B0D3FB0}"/>
              </a:ext>
            </a:extLst>
          </p:cNvPr>
          <p:cNvSpPr txBox="1"/>
          <p:nvPr/>
        </p:nvSpPr>
        <p:spPr>
          <a:xfrm>
            <a:off x="9166272" y="4821043"/>
            <a:ext cx="236088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1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Даты: _________ - __________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1F20D84-AAC1-0010-BE13-03F61351E3B6}"/>
              </a:ext>
            </a:extLst>
          </p:cNvPr>
          <p:cNvSpPr txBox="1"/>
          <p:nvPr/>
        </p:nvSpPr>
        <p:spPr>
          <a:xfrm rot="16200000">
            <a:off x="-93663" y="3562536"/>
            <a:ext cx="1252894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ДОП. ОПЦИИ</a:t>
            </a:r>
          </a:p>
        </p:txBody>
      </p:sp>
    </p:spTree>
    <p:extLst>
      <p:ext uri="{BB962C8B-B14F-4D97-AF65-F5344CB8AC3E}">
        <p14:creationId xmlns:p14="http://schemas.microsoft.com/office/powerpoint/2010/main" val="40847919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gpn_report">
  <a:themeElements>
    <a:clrScheme name="GPN_NEW COLOR">
      <a:dk1>
        <a:srgbClr val="3C3C3C"/>
      </a:dk1>
      <a:lt1>
        <a:srgbClr val="FFFFFF"/>
      </a:lt1>
      <a:dk2>
        <a:srgbClr val="000000"/>
      </a:dk2>
      <a:lt2>
        <a:srgbClr val="F2F2F2"/>
      </a:lt2>
      <a:accent1>
        <a:srgbClr val="004596"/>
      </a:accent1>
      <a:accent2>
        <a:srgbClr val="2FB3E9"/>
      </a:accent2>
      <a:accent3>
        <a:srgbClr val="0097D8"/>
      </a:accent3>
      <a:accent4>
        <a:srgbClr val="0070BA"/>
      </a:accent4>
      <a:accent5>
        <a:srgbClr val="E75807"/>
      </a:accent5>
      <a:accent6>
        <a:srgbClr val="23D1CF"/>
      </a:accent6>
      <a:hlink>
        <a:srgbClr val="004596"/>
      </a:hlink>
      <a:folHlink>
        <a:srgbClr val="706F6F"/>
      </a:folHlink>
    </a:clrScheme>
    <a:fontScheme name="GPN_DIN_CONDENSED">
      <a:majorFont>
        <a:latin typeface="GPN_DIN Condensed Bold"/>
        <a:ea typeface=""/>
        <a:cs typeface=""/>
      </a:majorFont>
      <a:minorFont>
        <a:latin typeface="GPN_DIN Condensed Regular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36000" rtlCol="0">
        <a:noAutofit/>
      </a:bodyPr>
      <a:lstStyle>
        <a:defPPr algn="l">
          <a:lnSpc>
            <a:spcPct val="80000"/>
          </a:lnSpc>
          <a:spcBef>
            <a:spcPts val="300"/>
          </a:spcBef>
          <a:defRPr sz="11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pn_report" id="{F8D1C6A7-815E-4B1B-922D-DDF256B6FD24}" vid="{8AC31970-B314-4C23-B764-C3D4C7919476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123</TotalTime>
  <Words>91</Words>
  <Application>Microsoft Office PowerPoint</Application>
  <PresentationFormat>Широкоэкранный</PresentationFormat>
  <Paragraphs>28</Paragraphs>
  <Slides>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2" baseType="lpstr">
      <vt:lpstr>Arial</vt:lpstr>
      <vt:lpstr>Calibri</vt:lpstr>
      <vt:lpstr>Calibri Light</vt:lpstr>
      <vt:lpstr>GPN_DIN Condensed Bold</vt:lpstr>
      <vt:lpstr>GPN_DIN Condensed Regular</vt:lpstr>
      <vt:lpstr>GPN_DIN Regular</vt:lpstr>
      <vt:lpstr>Wingdings</vt:lpstr>
      <vt:lpstr>Тема Office</vt:lpstr>
      <vt:lpstr>2_gpn_report</vt:lpstr>
      <vt:lpstr>Слайд think-cell</vt:lpstr>
      <vt:lpstr>ГПН-Х не принимал участие в фабрике потенциала в 2023 г.</vt:lpstr>
      <vt:lpstr>Опции вовлечения ГПН-Х в деятельность СУОД в 2024 г.</vt:lpstr>
    </vt:vector>
  </TitlesOfParts>
  <Company>ООО Газпромнефть-Хантос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татус по тиражам 2023 года</dc:title>
  <dc:creator>Егорова Анастасия Владимировна</dc:creator>
  <cp:lastModifiedBy>Ivan</cp:lastModifiedBy>
  <cp:revision>258</cp:revision>
  <dcterms:created xsi:type="dcterms:W3CDTF">2023-11-08T04:26:45Z</dcterms:created>
  <dcterms:modified xsi:type="dcterms:W3CDTF">2024-04-09T11:26:21Z</dcterms:modified>
</cp:coreProperties>
</file>